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notesSlides/notesSlide5.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tags/tag45.xml" ContentType="application/vnd.openxmlformats-officedocument.presentationml.tags+xml"/>
  <Override PartName="/ppt/notesSlides/notesSlide7.xml" ContentType="application/vnd.openxmlformats-officedocument.presentationml.notesSlide+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notesSlides/notesSlide10.xml" ContentType="application/vnd.openxmlformats-officedocument.presentationml.notesSlide+xml"/>
  <Override PartName="/ppt/tags/tag49.xml" ContentType="application/vnd.openxmlformats-officedocument.presentationml.tags+xml"/>
  <Override PartName="/ppt/notesSlides/notesSlide11.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tags/tag53.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872" r:id="rId77"/>
  </p:sldMasterIdLst>
  <p:notesMasterIdLst>
    <p:notesMasterId r:id="rId91"/>
  </p:notesMasterIdLst>
  <p:handoutMasterIdLst>
    <p:handoutMasterId r:id="rId92"/>
  </p:handoutMasterIdLst>
  <p:sldIdLst>
    <p:sldId id="256" r:id="rId78"/>
    <p:sldId id="2134805086" r:id="rId79"/>
    <p:sldId id="2076136838" r:id="rId80"/>
    <p:sldId id="1671" r:id="rId81"/>
    <p:sldId id="2134805087" r:id="rId82"/>
    <p:sldId id="2134805085" r:id="rId83"/>
    <p:sldId id="2076137117" r:id="rId84"/>
    <p:sldId id="2076137111" r:id="rId85"/>
    <p:sldId id="2076137118" r:id="rId86"/>
    <p:sldId id="302" r:id="rId87"/>
    <p:sldId id="317" r:id="rId88"/>
    <p:sldId id="2076137115" r:id="rId89"/>
    <p:sldId id="2134805084" r:id="rId90"/>
  </p:sldIdLst>
  <p:sldSz cx="12198350" cy="6858000"/>
  <p:notesSz cx="6797675" cy="9926638"/>
  <p:custDataLst>
    <p:custData r:id="rId25"/>
    <p:tags r:id="rId93"/>
  </p:custDataLst>
  <p:defaultTextStyle>
    <a:defPPr>
      <a:defRPr lang="de-DE"/>
    </a:defPPr>
    <a:lvl1pPr algn="l" rtl="0" fontAlgn="base">
      <a:spcBef>
        <a:spcPct val="50000"/>
      </a:spcBef>
      <a:spcAft>
        <a:spcPct val="0"/>
      </a:spcAft>
      <a:defRPr kern="1200">
        <a:solidFill>
          <a:schemeClr val="bg2"/>
        </a:solidFill>
        <a:latin typeface="Arial" pitchFamily="34" charset="0"/>
        <a:ea typeface="ＭＳ Ｐゴシック" charset="-128"/>
        <a:cs typeface="+mn-cs"/>
      </a:defRPr>
    </a:lvl1pPr>
    <a:lvl2pPr marL="457200" algn="l" rtl="0" fontAlgn="base">
      <a:spcBef>
        <a:spcPct val="50000"/>
      </a:spcBef>
      <a:spcAft>
        <a:spcPct val="0"/>
      </a:spcAft>
      <a:defRPr kern="1200">
        <a:solidFill>
          <a:schemeClr val="bg2"/>
        </a:solidFill>
        <a:latin typeface="Arial" pitchFamily="34" charset="0"/>
        <a:ea typeface="ＭＳ Ｐゴシック" charset="-128"/>
        <a:cs typeface="+mn-cs"/>
      </a:defRPr>
    </a:lvl2pPr>
    <a:lvl3pPr marL="914400" algn="l" rtl="0" fontAlgn="base">
      <a:spcBef>
        <a:spcPct val="50000"/>
      </a:spcBef>
      <a:spcAft>
        <a:spcPct val="0"/>
      </a:spcAft>
      <a:defRPr kern="1200">
        <a:solidFill>
          <a:schemeClr val="bg2"/>
        </a:solidFill>
        <a:latin typeface="Arial" pitchFamily="34" charset="0"/>
        <a:ea typeface="ＭＳ Ｐゴシック" charset="-128"/>
        <a:cs typeface="+mn-cs"/>
      </a:defRPr>
    </a:lvl3pPr>
    <a:lvl4pPr marL="1371600" algn="l" rtl="0" fontAlgn="base">
      <a:spcBef>
        <a:spcPct val="50000"/>
      </a:spcBef>
      <a:spcAft>
        <a:spcPct val="0"/>
      </a:spcAft>
      <a:defRPr kern="1200">
        <a:solidFill>
          <a:schemeClr val="bg2"/>
        </a:solidFill>
        <a:latin typeface="Arial" pitchFamily="34" charset="0"/>
        <a:ea typeface="ＭＳ Ｐゴシック" charset="-128"/>
        <a:cs typeface="+mn-cs"/>
      </a:defRPr>
    </a:lvl4pPr>
    <a:lvl5pPr marL="1828800" algn="l" rtl="0" fontAlgn="base">
      <a:spcBef>
        <a:spcPct val="50000"/>
      </a:spcBef>
      <a:spcAft>
        <a:spcPct val="0"/>
      </a:spcAft>
      <a:defRPr kern="1200">
        <a:solidFill>
          <a:schemeClr val="bg2"/>
        </a:solidFill>
        <a:latin typeface="Arial" pitchFamily="34" charset="0"/>
        <a:ea typeface="ＭＳ Ｐゴシック" charset="-128"/>
        <a:cs typeface="+mn-cs"/>
      </a:defRPr>
    </a:lvl5pPr>
    <a:lvl6pPr marL="2286000" algn="l" defTabSz="914400" rtl="0" eaLnBrk="1" latinLnBrk="0" hangingPunct="1">
      <a:defRPr kern="1200">
        <a:solidFill>
          <a:schemeClr val="bg2"/>
        </a:solidFill>
        <a:latin typeface="Arial" pitchFamily="34" charset="0"/>
        <a:ea typeface="ＭＳ Ｐゴシック" charset="-128"/>
        <a:cs typeface="+mn-cs"/>
      </a:defRPr>
    </a:lvl6pPr>
    <a:lvl7pPr marL="2743200" algn="l" defTabSz="914400" rtl="0" eaLnBrk="1" latinLnBrk="0" hangingPunct="1">
      <a:defRPr kern="1200">
        <a:solidFill>
          <a:schemeClr val="bg2"/>
        </a:solidFill>
        <a:latin typeface="Arial" pitchFamily="34" charset="0"/>
        <a:ea typeface="ＭＳ Ｐゴシック" charset="-128"/>
        <a:cs typeface="+mn-cs"/>
      </a:defRPr>
    </a:lvl7pPr>
    <a:lvl8pPr marL="3200400" algn="l" defTabSz="914400" rtl="0" eaLnBrk="1" latinLnBrk="0" hangingPunct="1">
      <a:defRPr kern="1200">
        <a:solidFill>
          <a:schemeClr val="bg2"/>
        </a:solidFill>
        <a:latin typeface="Arial" pitchFamily="34" charset="0"/>
        <a:ea typeface="ＭＳ Ｐゴシック" charset="-128"/>
        <a:cs typeface="+mn-cs"/>
      </a:defRPr>
    </a:lvl8pPr>
    <a:lvl9pPr marL="3657600" algn="l" defTabSz="914400" rtl="0" eaLnBrk="1" latinLnBrk="0" hangingPunct="1">
      <a:defRPr kern="1200">
        <a:solidFill>
          <a:schemeClr val="bg2"/>
        </a:solidFill>
        <a:latin typeface="Arial" pitchFamily="34" charset="0"/>
        <a:ea typeface="ＭＳ Ｐゴシック" charset="-128"/>
        <a:cs typeface="+mn-cs"/>
      </a:defRPr>
    </a:lvl9pPr>
  </p:defaultTextStyle>
  <p:extLst>
    <p:ext uri="{EFAFB233-063F-42B5-8137-9DF3F51BA10A}">
      <p15:sldGuideLst xmlns:p15="http://schemas.microsoft.com/office/powerpoint/2012/main">
        <p15:guide id="1" orient="horz" pos="890">
          <p15:clr>
            <a:srgbClr val="A4A3A4"/>
          </p15:clr>
        </p15:guide>
        <p15:guide id="2" orient="horz" pos="1017">
          <p15:clr>
            <a:srgbClr val="A4A3A4"/>
          </p15:clr>
        </p15:guide>
        <p15:guide id="3" orient="horz" pos="2716">
          <p15:clr>
            <a:srgbClr val="A4A3A4"/>
          </p15:clr>
        </p15:guide>
        <p15:guide id="4" orient="horz" pos="3883">
          <p15:clr>
            <a:srgbClr val="A4A3A4"/>
          </p15:clr>
        </p15:guide>
        <p15:guide id="5" pos="4027">
          <p15:clr>
            <a:srgbClr val="A4A3A4"/>
          </p15:clr>
        </p15:guide>
        <p15:guide id="6" pos="3494">
          <p15:clr>
            <a:srgbClr val="A4A3A4"/>
          </p15:clr>
        </p15:guide>
        <p15:guide id="7" pos="6468">
          <p15:clr>
            <a:srgbClr val="A4A3A4"/>
          </p15:clr>
        </p15:guide>
        <p15:guide id="8" pos="809">
          <p15:clr>
            <a:srgbClr val="A4A3A4"/>
          </p15:clr>
        </p15:guide>
        <p15:guide id="9">
          <p15:clr>
            <a:srgbClr val="A4A3A4"/>
          </p15:clr>
        </p15:guide>
        <p15:guide id="10" pos="73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A0B9"/>
    <a:srgbClr val="BECDD7"/>
    <a:srgbClr val="000000"/>
    <a:srgbClr val="AAAA96"/>
    <a:srgbClr val="FFFFFF"/>
    <a:srgbClr val="505A64"/>
    <a:srgbClr val="D7D7CD"/>
    <a:srgbClr val="879BAA"/>
    <a:srgbClr val="FFB900"/>
    <a:srgbClr val="AF235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8BFA5F-9013-49D6-BE92-790A6C29E112}" v="1" dt="2021-10-21T22:37:42.0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27" autoAdjust="0"/>
    <p:restoredTop sz="53097" autoAdjust="0"/>
  </p:normalViewPr>
  <p:slideViewPr>
    <p:cSldViewPr snapToGrid="0" showGuides="1">
      <p:cViewPr varScale="1">
        <p:scale>
          <a:sx n="47" d="100"/>
          <a:sy n="47" d="100"/>
        </p:scale>
        <p:origin x="2358" y="78"/>
      </p:cViewPr>
      <p:guideLst>
        <p:guide orient="horz" pos="890"/>
        <p:guide orient="horz" pos="1017"/>
        <p:guide orient="horz" pos="2716"/>
        <p:guide orient="horz" pos="3883"/>
        <p:guide pos="4027"/>
        <p:guide pos="3494"/>
        <p:guide pos="6468"/>
        <p:guide pos="809"/>
        <p:guide/>
        <p:guide pos="738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showGuides="1">
      <p:cViewPr>
        <p:scale>
          <a:sx n="58" d="100"/>
          <a:sy n="58" d="100"/>
        </p:scale>
        <p:origin x="4404" y="972"/>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34" Type="http://schemas.openxmlformats.org/officeDocument/2006/relationships/customXml" Target="../customXml/item34.xml"/><Relationship Id="rId42" Type="http://schemas.openxmlformats.org/officeDocument/2006/relationships/customXml" Target="../customXml/item42.xml"/><Relationship Id="rId47" Type="http://schemas.openxmlformats.org/officeDocument/2006/relationships/customXml" Target="../customXml/item47.xml"/><Relationship Id="rId50" Type="http://schemas.openxmlformats.org/officeDocument/2006/relationships/customXml" Target="../customXml/item50.xml"/><Relationship Id="rId55" Type="http://schemas.openxmlformats.org/officeDocument/2006/relationships/customXml" Target="../customXml/item55.xml"/><Relationship Id="rId63" Type="http://schemas.openxmlformats.org/officeDocument/2006/relationships/customXml" Target="../customXml/item63.xml"/><Relationship Id="rId68" Type="http://schemas.openxmlformats.org/officeDocument/2006/relationships/customXml" Target="../customXml/item68.xml"/><Relationship Id="rId76" Type="http://schemas.openxmlformats.org/officeDocument/2006/relationships/customXml" Target="../customXml/item76.xml"/><Relationship Id="rId84" Type="http://schemas.openxmlformats.org/officeDocument/2006/relationships/slide" Target="slides/slide7.xml"/><Relationship Id="rId89" Type="http://schemas.openxmlformats.org/officeDocument/2006/relationships/slide" Target="slides/slide12.xml"/><Relationship Id="rId97" Type="http://schemas.openxmlformats.org/officeDocument/2006/relationships/theme" Target="theme/theme1.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customXml" Target="../customXml/item32.xml"/><Relationship Id="rId37" Type="http://schemas.openxmlformats.org/officeDocument/2006/relationships/customXml" Target="../customXml/item37.xml"/><Relationship Id="rId40" Type="http://schemas.openxmlformats.org/officeDocument/2006/relationships/customXml" Target="../customXml/item40.xml"/><Relationship Id="rId45" Type="http://schemas.openxmlformats.org/officeDocument/2006/relationships/customXml" Target="../customXml/item45.xml"/><Relationship Id="rId53" Type="http://schemas.openxmlformats.org/officeDocument/2006/relationships/customXml" Target="../customXml/item53.xml"/><Relationship Id="rId58" Type="http://schemas.openxmlformats.org/officeDocument/2006/relationships/customXml" Target="../customXml/item58.xml"/><Relationship Id="rId66" Type="http://schemas.openxmlformats.org/officeDocument/2006/relationships/customXml" Target="../customXml/item66.xml"/><Relationship Id="rId74" Type="http://schemas.openxmlformats.org/officeDocument/2006/relationships/customXml" Target="../customXml/item74.xml"/><Relationship Id="rId79" Type="http://schemas.openxmlformats.org/officeDocument/2006/relationships/slide" Target="slides/slide2.xml"/><Relationship Id="rId87" Type="http://schemas.openxmlformats.org/officeDocument/2006/relationships/slide" Target="slides/slide10.xml"/><Relationship Id="rId5" Type="http://schemas.openxmlformats.org/officeDocument/2006/relationships/customXml" Target="../customXml/item5.xml"/><Relationship Id="rId61" Type="http://schemas.openxmlformats.org/officeDocument/2006/relationships/customXml" Target="../customXml/item61.xml"/><Relationship Id="rId82" Type="http://schemas.openxmlformats.org/officeDocument/2006/relationships/slide" Target="slides/slide5.xml"/><Relationship Id="rId90" Type="http://schemas.openxmlformats.org/officeDocument/2006/relationships/slide" Target="slides/slide13.xml"/><Relationship Id="rId95" Type="http://schemas.openxmlformats.org/officeDocument/2006/relationships/presProps" Target="presProps.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customXml" Target="../customXml/item35.xml"/><Relationship Id="rId43" Type="http://schemas.openxmlformats.org/officeDocument/2006/relationships/customXml" Target="../customXml/item43.xml"/><Relationship Id="rId48" Type="http://schemas.openxmlformats.org/officeDocument/2006/relationships/customXml" Target="../customXml/item48.xml"/><Relationship Id="rId56" Type="http://schemas.openxmlformats.org/officeDocument/2006/relationships/customXml" Target="../customXml/item56.xml"/><Relationship Id="rId64" Type="http://schemas.openxmlformats.org/officeDocument/2006/relationships/customXml" Target="../customXml/item64.xml"/><Relationship Id="rId69" Type="http://schemas.openxmlformats.org/officeDocument/2006/relationships/customXml" Target="../customXml/item69.xml"/><Relationship Id="rId77" Type="http://schemas.openxmlformats.org/officeDocument/2006/relationships/slideMaster" Target="slideMasters/slideMaster1.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80" Type="http://schemas.openxmlformats.org/officeDocument/2006/relationships/slide" Target="slides/slide3.xml"/><Relationship Id="rId85" Type="http://schemas.openxmlformats.org/officeDocument/2006/relationships/slide" Target="slides/slide8.xml"/><Relationship Id="rId93" Type="http://schemas.openxmlformats.org/officeDocument/2006/relationships/tags" Target="tags/tag1.xml"/><Relationship Id="rId98"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customXml" Target="../customXml/item46.xml"/><Relationship Id="rId59" Type="http://schemas.openxmlformats.org/officeDocument/2006/relationships/customXml" Target="../customXml/item59.xml"/><Relationship Id="rId67" Type="http://schemas.openxmlformats.org/officeDocument/2006/relationships/customXml" Target="../customXml/item67.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customXml" Target="../customXml/item54.xml"/><Relationship Id="rId62" Type="http://schemas.openxmlformats.org/officeDocument/2006/relationships/customXml" Target="../customXml/item62.xml"/><Relationship Id="rId70" Type="http://schemas.openxmlformats.org/officeDocument/2006/relationships/customXml" Target="../customXml/item70.xml"/><Relationship Id="rId75" Type="http://schemas.openxmlformats.org/officeDocument/2006/relationships/customXml" Target="../customXml/item75.xml"/><Relationship Id="rId83" Type="http://schemas.openxmlformats.org/officeDocument/2006/relationships/slide" Target="slides/slide6.xml"/><Relationship Id="rId88" Type="http://schemas.openxmlformats.org/officeDocument/2006/relationships/slide" Target="slides/slide11.xml"/><Relationship Id="rId91" Type="http://schemas.openxmlformats.org/officeDocument/2006/relationships/notesMaster" Target="notesMasters/notesMaster1.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customXml" Target="../customXml/item49.xml"/><Relationship Id="rId57" Type="http://schemas.openxmlformats.org/officeDocument/2006/relationships/customXml" Target="../customXml/item57.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customXml" Target="../customXml/item44.xml"/><Relationship Id="rId52" Type="http://schemas.openxmlformats.org/officeDocument/2006/relationships/customXml" Target="../customXml/item52.xml"/><Relationship Id="rId60" Type="http://schemas.openxmlformats.org/officeDocument/2006/relationships/customXml" Target="../customXml/item60.xml"/><Relationship Id="rId65" Type="http://schemas.openxmlformats.org/officeDocument/2006/relationships/customXml" Target="../customXml/item65.xml"/><Relationship Id="rId73" Type="http://schemas.openxmlformats.org/officeDocument/2006/relationships/customXml" Target="../customXml/item73.xml"/><Relationship Id="rId78" Type="http://schemas.openxmlformats.org/officeDocument/2006/relationships/slide" Target="slides/slide1.xml"/><Relationship Id="rId81" Type="http://schemas.openxmlformats.org/officeDocument/2006/relationships/slide" Target="slides/slide4.xml"/><Relationship Id="rId86" Type="http://schemas.openxmlformats.org/officeDocument/2006/relationships/slide" Target="slides/slide9.xml"/><Relationship Id="rId94" Type="http://schemas.openxmlformats.org/officeDocument/2006/relationships/commentAuthors" Target="commentAuthors.xml"/><Relationship Id="rId99"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302" name="Rectangle 6"/>
          <p:cNvSpPr>
            <a:spLocks noChangeArrowheads="1"/>
          </p:cNvSpPr>
          <p:nvPr/>
        </p:nvSpPr>
        <p:spPr bwMode="auto">
          <a:xfrm>
            <a:off x="3" y="6"/>
            <a:ext cx="6797675" cy="677481"/>
          </a:xfrm>
          <a:prstGeom prst="rect">
            <a:avLst/>
          </a:prstGeom>
          <a:solidFill>
            <a:srgbClr val="879BAA"/>
          </a:solidFill>
          <a:ln w="9525" algn="ctr">
            <a:noFill/>
            <a:miter lim="800000"/>
            <a:headEnd/>
            <a:tailEnd/>
          </a:ln>
          <a:effectLst/>
        </p:spPr>
        <p:txBody>
          <a:bodyPr wrap="none" lIns="87746" tIns="43872" rIns="87746" bIns="43872" anchor="ctr"/>
          <a:lstStyle/>
          <a:p>
            <a:endParaRPr lang="de-DE"/>
          </a:p>
        </p:txBody>
      </p:sp>
      <p:sp>
        <p:nvSpPr>
          <p:cNvPr id="173058" name="Rectangle 2"/>
          <p:cNvSpPr>
            <a:spLocks noGrp="1" noChangeArrowheads="1"/>
          </p:cNvSpPr>
          <p:nvPr>
            <p:ph type="hdr" sz="quarter"/>
          </p:nvPr>
        </p:nvSpPr>
        <p:spPr bwMode="auto">
          <a:xfrm>
            <a:off x="12" y="4"/>
            <a:ext cx="3111548" cy="535828"/>
          </a:xfrm>
          <a:prstGeom prst="rect">
            <a:avLst/>
          </a:prstGeom>
          <a:noFill/>
          <a:ln w="9525">
            <a:noFill/>
            <a:miter lim="800000"/>
            <a:headEnd/>
            <a:tailEnd/>
          </a:ln>
          <a:effectLst/>
        </p:spPr>
        <p:txBody>
          <a:bodyPr vert="horz" wrap="square" lIns="142549" tIns="142549" rIns="142549" bIns="142549" numCol="1" anchor="t" anchorCtr="0" compatLnSpc="1">
            <a:prstTxWarp prst="textNoShape">
              <a:avLst/>
            </a:prstTxWarp>
          </a:bodyPr>
          <a:lstStyle>
            <a:lvl1pPr defTabSz="904885">
              <a:spcBef>
                <a:spcPct val="0"/>
              </a:spcBef>
              <a:defRPr sz="1000">
                <a:solidFill>
                  <a:schemeClr val="bg1"/>
                </a:solidFill>
                <a:latin typeface="Siemens Sans" pitchFamily="2" charset="0"/>
              </a:defRPr>
            </a:lvl1pPr>
          </a:lstStyle>
          <a:p>
            <a:endParaRPr lang="en-US" dirty="0">
              <a:latin typeface="Arial" pitchFamily="34" charset="0"/>
            </a:endParaRPr>
          </a:p>
        </p:txBody>
      </p:sp>
      <p:sp>
        <p:nvSpPr>
          <p:cNvPr id="173059" name="Rectangle 3"/>
          <p:cNvSpPr>
            <a:spLocks noGrp="1" noChangeArrowheads="1"/>
          </p:cNvSpPr>
          <p:nvPr>
            <p:ph type="dt" sz="quarter" idx="1"/>
          </p:nvPr>
        </p:nvSpPr>
        <p:spPr bwMode="auto">
          <a:xfrm>
            <a:off x="3686132" y="4"/>
            <a:ext cx="3111547" cy="535828"/>
          </a:xfrm>
          <a:prstGeom prst="rect">
            <a:avLst/>
          </a:prstGeom>
          <a:noFill/>
          <a:ln w="9525">
            <a:noFill/>
            <a:miter lim="800000"/>
            <a:headEnd/>
            <a:tailEnd/>
          </a:ln>
          <a:effectLst/>
        </p:spPr>
        <p:txBody>
          <a:bodyPr vert="horz" wrap="square" lIns="142549" tIns="142549" rIns="142549" bIns="142549" numCol="1" anchor="t" anchorCtr="0" compatLnSpc="1">
            <a:prstTxWarp prst="textNoShape">
              <a:avLst/>
            </a:prstTxWarp>
          </a:bodyPr>
          <a:lstStyle>
            <a:lvl1pPr algn="r" defTabSz="904885">
              <a:spcBef>
                <a:spcPct val="0"/>
              </a:spcBef>
              <a:defRPr sz="1000">
                <a:solidFill>
                  <a:schemeClr val="bg1"/>
                </a:solidFill>
                <a:latin typeface="Siemens Sans" pitchFamily="2" charset="0"/>
              </a:defRPr>
            </a:lvl1pPr>
          </a:lstStyle>
          <a:p>
            <a:endParaRPr lang="en-US" dirty="0">
              <a:latin typeface="Arial" pitchFamily="34" charset="0"/>
            </a:endParaRPr>
          </a:p>
        </p:txBody>
      </p:sp>
      <p:sp>
        <p:nvSpPr>
          <p:cNvPr id="173060" name="Rectangle 4"/>
          <p:cNvSpPr>
            <a:spLocks noGrp="1" noChangeArrowheads="1"/>
          </p:cNvSpPr>
          <p:nvPr>
            <p:ph type="ftr" sz="quarter" idx="2"/>
          </p:nvPr>
        </p:nvSpPr>
        <p:spPr bwMode="auto">
          <a:xfrm>
            <a:off x="12" y="9390819"/>
            <a:ext cx="3111548" cy="535828"/>
          </a:xfrm>
          <a:prstGeom prst="rect">
            <a:avLst/>
          </a:prstGeom>
          <a:noFill/>
          <a:ln w="9525">
            <a:noFill/>
            <a:miter lim="800000"/>
            <a:headEnd/>
            <a:tailEnd/>
          </a:ln>
          <a:effectLst/>
        </p:spPr>
        <p:txBody>
          <a:bodyPr vert="horz" wrap="square" lIns="142549" tIns="142549" rIns="142549" bIns="142549" numCol="1" anchor="b" anchorCtr="0" compatLnSpc="1">
            <a:prstTxWarp prst="textNoShape">
              <a:avLst/>
            </a:prstTxWarp>
          </a:bodyPr>
          <a:lstStyle>
            <a:lvl1pPr defTabSz="904885">
              <a:spcBef>
                <a:spcPct val="0"/>
              </a:spcBef>
              <a:defRPr sz="1000">
                <a:solidFill>
                  <a:schemeClr val="tx1"/>
                </a:solidFill>
                <a:latin typeface="Siemens Sans" pitchFamily="2" charset="0"/>
              </a:defRPr>
            </a:lvl1pPr>
          </a:lstStyle>
          <a:p>
            <a:endParaRPr lang="en-US" dirty="0">
              <a:latin typeface="Arial" pitchFamily="34" charset="0"/>
            </a:endParaRPr>
          </a:p>
        </p:txBody>
      </p:sp>
      <p:sp>
        <p:nvSpPr>
          <p:cNvPr id="173061" name="Rectangle 5"/>
          <p:cNvSpPr>
            <a:spLocks noGrp="1" noChangeArrowheads="1"/>
          </p:cNvSpPr>
          <p:nvPr>
            <p:ph type="sldNum" sz="quarter" idx="3"/>
          </p:nvPr>
        </p:nvSpPr>
        <p:spPr bwMode="auto">
          <a:xfrm>
            <a:off x="3686132" y="9390819"/>
            <a:ext cx="3111547" cy="535828"/>
          </a:xfrm>
          <a:prstGeom prst="rect">
            <a:avLst/>
          </a:prstGeom>
          <a:noFill/>
          <a:ln w="9525">
            <a:noFill/>
            <a:miter lim="800000"/>
            <a:headEnd/>
            <a:tailEnd/>
          </a:ln>
          <a:effectLst/>
        </p:spPr>
        <p:txBody>
          <a:bodyPr vert="horz" wrap="square" lIns="142549" tIns="142549" rIns="142549" bIns="142549" numCol="1" anchor="b" anchorCtr="0" compatLnSpc="1">
            <a:prstTxWarp prst="textNoShape">
              <a:avLst/>
            </a:prstTxWarp>
          </a:bodyPr>
          <a:lstStyle>
            <a:lvl1pPr algn="r" defTabSz="904885">
              <a:spcBef>
                <a:spcPct val="0"/>
              </a:spcBef>
              <a:defRPr sz="1000">
                <a:solidFill>
                  <a:schemeClr val="tx1"/>
                </a:solidFill>
                <a:latin typeface="Siemens Sans" pitchFamily="2" charset="0"/>
              </a:defRPr>
            </a:lvl1pPr>
          </a:lstStyle>
          <a:p>
            <a:r>
              <a:rPr lang="de-DE" dirty="0">
                <a:latin typeface="Arial" pitchFamily="34" charset="0"/>
              </a:rPr>
              <a:t>Handzettel </a:t>
            </a:r>
            <a:fld id="{BFC713D8-7968-482B-A79F-9C586FE5053A}" type="slidenum">
              <a:rPr lang="de-DE">
                <a:latin typeface="Arial" pitchFamily="34" charset="0"/>
              </a:rPr>
              <a:pPr/>
              <a:t>‹Nr.›</a:t>
            </a:fld>
            <a:endParaRPr lang="de-DE" dirty="0">
              <a:latin typeface="Arial" pitchFamily="34" charset="0"/>
            </a:endParaRPr>
          </a:p>
        </p:txBody>
      </p:sp>
    </p:spTree>
    <p:extLst>
      <p:ext uri="{BB962C8B-B14F-4D97-AF65-F5344CB8AC3E}">
        <p14:creationId xmlns:p14="http://schemas.microsoft.com/office/powerpoint/2010/main" val="23231723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12" y="4"/>
            <a:ext cx="3111548" cy="535828"/>
          </a:xfrm>
          <a:prstGeom prst="rect">
            <a:avLst/>
          </a:prstGeom>
          <a:noFill/>
          <a:ln w="9525">
            <a:noFill/>
            <a:miter lim="800000"/>
            <a:headEnd/>
            <a:tailEnd/>
          </a:ln>
          <a:effectLst/>
        </p:spPr>
        <p:txBody>
          <a:bodyPr vert="horz" wrap="square" lIns="142549" tIns="142549" rIns="142549" bIns="142549" numCol="1" anchor="t" anchorCtr="0" compatLnSpc="1">
            <a:prstTxWarp prst="textNoShape">
              <a:avLst/>
            </a:prstTxWarp>
            <a:noAutofit/>
          </a:bodyPr>
          <a:lstStyle>
            <a:lvl1pPr defTabSz="904885">
              <a:spcBef>
                <a:spcPct val="0"/>
              </a:spcBef>
              <a:defRPr sz="1000">
                <a:solidFill>
                  <a:schemeClr val="tx1"/>
                </a:solidFill>
                <a:latin typeface="Arial" pitchFamily="34" charset="0"/>
              </a:defRPr>
            </a:lvl1pPr>
          </a:lstStyle>
          <a:p>
            <a:endParaRPr lang="en-US" dirty="0"/>
          </a:p>
        </p:txBody>
      </p:sp>
      <p:sp>
        <p:nvSpPr>
          <p:cNvPr id="77827" name="Rectangle 3"/>
          <p:cNvSpPr>
            <a:spLocks noGrp="1" noChangeArrowheads="1"/>
          </p:cNvSpPr>
          <p:nvPr>
            <p:ph type="dt" idx="1"/>
          </p:nvPr>
        </p:nvSpPr>
        <p:spPr bwMode="auto">
          <a:xfrm>
            <a:off x="3686142" y="4"/>
            <a:ext cx="3110027" cy="535828"/>
          </a:xfrm>
          <a:prstGeom prst="rect">
            <a:avLst/>
          </a:prstGeom>
          <a:noFill/>
          <a:ln w="9525">
            <a:noFill/>
            <a:miter lim="800000"/>
            <a:headEnd/>
            <a:tailEnd/>
          </a:ln>
          <a:effectLst/>
        </p:spPr>
        <p:txBody>
          <a:bodyPr vert="horz" wrap="square" lIns="142549" tIns="142549" rIns="142549" bIns="142549" numCol="1" anchor="t" anchorCtr="0" compatLnSpc="1">
            <a:prstTxWarp prst="textNoShape">
              <a:avLst/>
            </a:prstTxWarp>
            <a:noAutofit/>
          </a:bodyPr>
          <a:lstStyle>
            <a:lvl1pPr algn="r" defTabSz="904885">
              <a:spcBef>
                <a:spcPct val="0"/>
              </a:spcBef>
              <a:defRPr sz="1000">
                <a:solidFill>
                  <a:schemeClr val="tx1"/>
                </a:solidFill>
                <a:latin typeface="Arial" pitchFamily="34" charset="0"/>
              </a:defRPr>
            </a:lvl1pPr>
          </a:lstStyle>
          <a:p>
            <a:endParaRPr lang="en-US" dirty="0"/>
          </a:p>
        </p:txBody>
      </p:sp>
      <p:sp>
        <p:nvSpPr>
          <p:cNvPr id="77828" name="Rectangle 4"/>
          <p:cNvSpPr>
            <a:spLocks noGrp="1" noRot="1" noChangeAspect="1" noChangeArrowheads="1" noTextEdit="1"/>
          </p:cNvSpPr>
          <p:nvPr>
            <p:ph type="sldImg" idx="2"/>
          </p:nvPr>
        </p:nvSpPr>
        <p:spPr bwMode="auto">
          <a:xfrm>
            <a:off x="84138" y="741363"/>
            <a:ext cx="6485536" cy="364656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77829" name="Rectangle 5"/>
          <p:cNvSpPr>
            <a:spLocks noGrp="1" noChangeArrowheads="1"/>
          </p:cNvSpPr>
          <p:nvPr>
            <p:ph type="body" sz="quarter" idx="3"/>
          </p:nvPr>
        </p:nvSpPr>
        <p:spPr bwMode="auto">
          <a:xfrm>
            <a:off x="228015" y="4677712"/>
            <a:ext cx="6341659" cy="44282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a:t>Textmasterformate</a:t>
            </a:r>
            <a:r>
              <a:rPr lang="en-US" dirty="0"/>
              <a:t> </a:t>
            </a:r>
            <a:r>
              <a:rPr lang="en-US" dirty="0" err="1"/>
              <a:t>durch</a:t>
            </a:r>
            <a:r>
              <a:rPr lang="en-US" dirty="0"/>
              <a:t> </a:t>
            </a:r>
            <a:r>
              <a:rPr lang="en-US" dirty="0" err="1"/>
              <a:t>Klicken</a:t>
            </a:r>
            <a:r>
              <a:rPr lang="en-US" dirty="0"/>
              <a:t> </a:t>
            </a:r>
            <a:r>
              <a:rPr lang="en-US" dirty="0" err="1"/>
              <a:t>bearbeiten</a:t>
            </a:r>
            <a:endParaRPr lang="en-US" dirty="0"/>
          </a:p>
          <a:p>
            <a:pPr lvl="1"/>
            <a:r>
              <a:rPr lang="en-US" dirty="0" err="1"/>
              <a:t>Zweite</a:t>
            </a:r>
            <a:r>
              <a:rPr lang="en-US" dirty="0"/>
              <a:t> Ebene</a:t>
            </a:r>
          </a:p>
          <a:p>
            <a:pPr lvl="2"/>
            <a:r>
              <a:rPr lang="en-US" dirty="0" err="1"/>
              <a:t>Dritte</a:t>
            </a:r>
            <a:r>
              <a:rPr lang="en-US" dirty="0"/>
              <a:t> Ebene</a:t>
            </a:r>
          </a:p>
          <a:p>
            <a:pPr lvl="3"/>
            <a:r>
              <a:rPr lang="en-US" dirty="0" err="1"/>
              <a:t>Vierte</a:t>
            </a:r>
            <a:r>
              <a:rPr lang="en-US" dirty="0"/>
              <a:t> Ebene</a:t>
            </a:r>
          </a:p>
          <a:p>
            <a:pPr lvl="4"/>
            <a:r>
              <a:rPr lang="en-US" dirty="0" err="1"/>
              <a:t>Fünfte</a:t>
            </a:r>
            <a:r>
              <a:rPr lang="en-US" dirty="0"/>
              <a:t> Ebene</a:t>
            </a:r>
          </a:p>
        </p:txBody>
      </p:sp>
      <p:sp>
        <p:nvSpPr>
          <p:cNvPr id="77830" name="Rectangle 6"/>
          <p:cNvSpPr>
            <a:spLocks noGrp="1" noChangeArrowheads="1"/>
          </p:cNvSpPr>
          <p:nvPr>
            <p:ph type="ftr" sz="quarter" idx="4"/>
          </p:nvPr>
        </p:nvSpPr>
        <p:spPr bwMode="auto">
          <a:xfrm>
            <a:off x="12" y="9390816"/>
            <a:ext cx="3111548" cy="534286"/>
          </a:xfrm>
          <a:prstGeom prst="rect">
            <a:avLst/>
          </a:prstGeom>
          <a:noFill/>
          <a:ln w="9525">
            <a:noFill/>
            <a:miter lim="800000"/>
            <a:headEnd/>
            <a:tailEnd/>
          </a:ln>
          <a:effectLst/>
        </p:spPr>
        <p:txBody>
          <a:bodyPr vert="horz" wrap="square" lIns="142549" tIns="142549" rIns="142549" bIns="142549" numCol="1" anchor="b" anchorCtr="0" compatLnSpc="1">
            <a:prstTxWarp prst="textNoShape">
              <a:avLst/>
            </a:prstTxWarp>
            <a:noAutofit/>
          </a:bodyPr>
          <a:lstStyle>
            <a:lvl1pPr defTabSz="904885">
              <a:spcBef>
                <a:spcPct val="0"/>
              </a:spcBef>
              <a:defRPr sz="1000">
                <a:solidFill>
                  <a:schemeClr val="tx1"/>
                </a:solidFill>
                <a:latin typeface="Arial" pitchFamily="34" charset="0"/>
              </a:defRPr>
            </a:lvl1pPr>
          </a:lstStyle>
          <a:p>
            <a:endParaRPr lang="en-US" dirty="0"/>
          </a:p>
        </p:txBody>
      </p:sp>
      <p:sp>
        <p:nvSpPr>
          <p:cNvPr id="77831" name="Rectangle 7"/>
          <p:cNvSpPr>
            <a:spLocks noGrp="1" noChangeArrowheads="1"/>
          </p:cNvSpPr>
          <p:nvPr>
            <p:ph type="sldNum" sz="quarter" idx="5"/>
          </p:nvPr>
        </p:nvSpPr>
        <p:spPr bwMode="auto">
          <a:xfrm>
            <a:off x="3686142" y="9390816"/>
            <a:ext cx="3110027" cy="534286"/>
          </a:xfrm>
          <a:prstGeom prst="rect">
            <a:avLst/>
          </a:prstGeom>
          <a:noFill/>
          <a:ln w="9525">
            <a:noFill/>
            <a:miter lim="800000"/>
            <a:headEnd/>
            <a:tailEnd/>
          </a:ln>
          <a:effectLst/>
        </p:spPr>
        <p:txBody>
          <a:bodyPr vert="horz" wrap="square" lIns="142549" tIns="142549" rIns="142549" bIns="142549" numCol="1" anchor="b" anchorCtr="0" compatLnSpc="1">
            <a:prstTxWarp prst="textNoShape">
              <a:avLst/>
            </a:prstTxWarp>
          </a:bodyPr>
          <a:lstStyle>
            <a:lvl1pPr algn="r" defTabSz="904885">
              <a:spcBef>
                <a:spcPct val="0"/>
              </a:spcBef>
              <a:defRPr sz="1000">
                <a:solidFill>
                  <a:schemeClr val="tx1"/>
                </a:solidFill>
                <a:latin typeface="Siemens Sans" pitchFamily="2" charset="0"/>
              </a:defRPr>
            </a:lvl1pPr>
          </a:lstStyle>
          <a:p>
            <a:r>
              <a:rPr lang="en-US">
                <a:latin typeface="Arial" pitchFamily="34" charset="0"/>
              </a:rPr>
              <a:t>Notizen </a:t>
            </a:r>
            <a:fld id="{AD141568-5488-4AC9-B82D-9F5CE1225E2A}" type="slidenum">
              <a:rPr lang="en-US" smtClean="0">
                <a:latin typeface="Arial" pitchFamily="34" charset="0"/>
              </a:rPr>
              <a:pPr/>
              <a:t>‹Nr.›</a:t>
            </a:fld>
            <a:endParaRPr lang="en-US" dirty="0">
              <a:latin typeface="Arial" pitchFamily="34" charset="0"/>
            </a:endParaRPr>
          </a:p>
        </p:txBody>
      </p:sp>
    </p:spTree>
    <p:extLst>
      <p:ext uri="{BB962C8B-B14F-4D97-AF65-F5344CB8AC3E}">
        <p14:creationId xmlns:p14="http://schemas.microsoft.com/office/powerpoint/2010/main" val="196387789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1pPr>
    <a:lvl2pPr marL="457200"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2pPr>
    <a:lvl3pPr marL="914400"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3pPr>
    <a:lvl4pPr marL="1371600"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4pPr>
    <a:lvl5pPr marL="1828800" algn="l" rtl="0" eaLnBrk="0" fontAlgn="base" hangingPunct="0">
      <a:spcBef>
        <a:spcPct val="30000"/>
      </a:spcBef>
      <a:spcAft>
        <a:spcPct val="0"/>
      </a:spcAft>
      <a:defRPr sz="1400" kern="1200">
        <a:solidFill>
          <a:schemeClr val="tx1"/>
        </a:solidFill>
        <a:latin typeface="Arial" pitchFamily="34"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a:t>
            </a:fld>
            <a:endParaRPr lang="en-US" dirty="0"/>
          </a:p>
        </p:txBody>
      </p:sp>
    </p:spTree>
    <p:extLst>
      <p:ext uri="{BB962C8B-B14F-4D97-AF65-F5344CB8AC3E}">
        <p14:creationId xmlns:p14="http://schemas.microsoft.com/office/powerpoint/2010/main" val="17272875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10</a:t>
            </a:fld>
            <a:endParaRPr lang="en-US" dirty="0"/>
          </a:p>
        </p:txBody>
      </p:sp>
    </p:spTree>
    <p:extLst>
      <p:ext uri="{BB962C8B-B14F-4D97-AF65-F5344CB8AC3E}">
        <p14:creationId xmlns:p14="http://schemas.microsoft.com/office/powerpoint/2010/main" val="2216726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defTabSz="924458" fontAlgn="auto">
              <a:spcBef>
                <a:spcPts val="0"/>
              </a:spcBef>
              <a:spcAft>
                <a:spcPts val="0"/>
              </a:spcAft>
              <a:defRPr/>
            </a:pPr>
            <a:r>
              <a:rPr lang="en-US" sz="1100" b="1" dirty="0">
                <a:solidFill>
                  <a:srgbClr val="00D7A0"/>
                </a:solidFill>
                <a:latin typeface="Arial"/>
                <a:ea typeface="+mn-ea"/>
              </a:rPr>
              <a:t>Notes</a:t>
            </a:r>
            <a:r>
              <a:rPr lang="en-US" sz="1100" dirty="0">
                <a:solidFill>
                  <a:srgbClr val="000000"/>
                </a:solidFill>
                <a:latin typeface="Arial"/>
                <a:ea typeface="+mn-ea"/>
              </a:rPr>
              <a:t> </a:t>
            </a:r>
            <a:fld id="{E76C657F-0E32-4130-ADDA-66B81138A76A}" type="slidenum">
              <a:rPr lang="en-US" sz="1100">
                <a:solidFill>
                  <a:srgbClr val="000000"/>
                </a:solidFill>
                <a:latin typeface="Arial"/>
                <a:ea typeface="+mn-ea"/>
              </a:rPr>
              <a:pPr defTabSz="924458" fontAlgn="auto">
                <a:spcBef>
                  <a:spcPts val="0"/>
                </a:spcBef>
                <a:spcAft>
                  <a:spcPts val="0"/>
                </a:spcAft>
                <a:defRPr/>
              </a:pPr>
              <a:t>11</a:t>
            </a:fld>
            <a:endParaRPr lang="en-US" sz="1100" dirty="0">
              <a:solidFill>
                <a:srgbClr val="000000"/>
              </a:solidFill>
              <a:latin typeface="Arial"/>
              <a:ea typeface="+mn-ea"/>
            </a:endParaRPr>
          </a:p>
        </p:txBody>
      </p:sp>
    </p:spTree>
    <p:extLst>
      <p:ext uri="{BB962C8B-B14F-4D97-AF65-F5344CB8AC3E}">
        <p14:creationId xmlns:p14="http://schemas.microsoft.com/office/powerpoint/2010/main" val="4052311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defTabSz="924458" fontAlgn="auto">
              <a:spcBef>
                <a:spcPts val="0"/>
              </a:spcBef>
              <a:spcAft>
                <a:spcPts val="0"/>
              </a:spcAft>
              <a:defRPr/>
            </a:pPr>
            <a:r>
              <a:rPr lang="en-US" sz="1100" b="1" dirty="0">
                <a:solidFill>
                  <a:srgbClr val="00D7A0"/>
                </a:solidFill>
                <a:latin typeface="Arial"/>
              </a:rPr>
              <a:t>Notes</a:t>
            </a:r>
            <a:r>
              <a:rPr lang="en-US" sz="1100" dirty="0">
                <a:solidFill>
                  <a:srgbClr val="000000"/>
                </a:solidFill>
                <a:latin typeface="Arial"/>
              </a:rPr>
              <a:t> </a:t>
            </a:r>
            <a:fld id="{E76C657F-0E32-4130-ADDA-66B81138A76A}" type="slidenum">
              <a:rPr lang="en-US" sz="1100">
                <a:solidFill>
                  <a:srgbClr val="000000"/>
                </a:solidFill>
                <a:latin typeface="Arial"/>
              </a:rPr>
              <a:pPr defTabSz="924458" fontAlgn="auto">
                <a:spcBef>
                  <a:spcPts val="0"/>
                </a:spcBef>
                <a:spcAft>
                  <a:spcPts val="0"/>
                </a:spcAft>
                <a:defRPr/>
              </a:pPr>
              <a:t>12</a:t>
            </a:fld>
            <a:endParaRPr lang="en-US" sz="1100" dirty="0">
              <a:solidFill>
                <a:srgbClr val="000000"/>
              </a:solidFill>
              <a:latin typeface="Arial"/>
            </a:endParaRPr>
          </a:p>
        </p:txBody>
      </p:sp>
    </p:spTree>
    <p:extLst>
      <p:ext uri="{BB962C8B-B14F-4D97-AF65-F5344CB8AC3E}">
        <p14:creationId xmlns:p14="http://schemas.microsoft.com/office/powerpoint/2010/main" val="27428978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622300"/>
            <a:ext cx="6084888" cy="3421063"/>
          </a:xfrm>
        </p:spPr>
      </p:sp>
      <p:sp>
        <p:nvSpPr>
          <p:cNvPr id="3" name="Notes Placeholder 2"/>
          <p:cNvSpPr>
            <a:spLocks noGrp="1"/>
          </p:cNvSpPr>
          <p:nvPr>
            <p:ph type="body" idx="1"/>
          </p:nvPr>
        </p:nvSpPr>
        <p:spPr/>
        <p:txBody>
          <a:bodyPr/>
          <a:lstStyle/>
          <a:p>
            <a:pPr>
              <a:lnSpc>
                <a:spcPct val="110000"/>
              </a:lnSpc>
              <a:spcBef>
                <a:spcPts val="0"/>
              </a:spcBef>
            </a:pPr>
            <a:r>
              <a:rPr lang="de-DE" sz="1200" b="1" dirty="0" err="1">
                <a:solidFill>
                  <a:srgbClr val="FF0000"/>
                </a:solidFill>
                <a:ea typeface="Arial Unicode MS" panose="020B0604020202020204" pitchFamily="34" charset="-128"/>
                <a:cs typeface="Arial Unicode MS" panose="020B0604020202020204" pitchFamily="34" charset="-128"/>
              </a:rPr>
              <a:t>How</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can</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your</a:t>
            </a:r>
            <a:r>
              <a:rPr lang="de-DE" sz="1200" b="1" dirty="0">
                <a:solidFill>
                  <a:srgbClr val="FF0000"/>
                </a:solidFill>
                <a:ea typeface="Arial Unicode MS" panose="020B0604020202020204" pitchFamily="34" charset="-128"/>
                <a:cs typeface="Arial Unicode MS" panose="020B0604020202020204" pitchFamily="34" charset="-128"/>
              </a:rPr>
              <a:t> digital </a:t>
            </a:r>
            <a:r>
              <a:rPr lang="de-DE" sz="1200" b="1" dirty="0" err="1">
                <a:solidFill>
                  <a:srgbClr val="FF0000"/>
                </a:solidFill>
                <a:ea typeface="Arial Unicode MS" panose="020B0604020202020204" pitchFamily="34" charset="-128"/>
                <a:cs typeface="Arial Unicode MS" panose="020B0604020202020204" pitchFamily="34" charset="-128"/>
              </a:rPr>
              <a:t>transformation</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journey</a:t>
            </a:r>
            <a:r>
              <a:rPr lang="de-DE" sz="1200" b="1" dirty="0">
                <a:solidFill>
                  <a:srgbClr val="FF0000"/>
                </a:solidFill>
                <a:ea typeface="Arial Unicode MS" panose="020B0604020202020204" pitchFamily="34" charset="-128"/>
                <a:cs typeface="Arial Unicode MS" panose="020B0604020202020204" pitchFamily="34" charset="-128"/>
              </a:rPr>
              <a:t> </a:t>
            </a:r>
            <a:r>
              <a:rPr lang="de-DE" sz="1200" b="1" dirty="0" err="1">
                <a:solidFill>
                  <a:srgbClr val="FF0000"/>
                </a:solidFill>
                <a:ea typeface="Arial Unicode MS" panose="020B0604020202020204" pitchFamily="34" charset="-128"/>
                <a:cs typeface="Arial Unicode MS" panose="020B0604020202020204" pitchFamily="34" charset="-128"/>
              </a:rPr>
              <a:t>look</a:t>
            </a:r>
            <a:r>
              <a:rPr lang="de-DE" sz="1200" b="1" dirty="0">
                <a:solidFill>
                  <a:srgbClr val="FF0000"/>
                </a:solidFill>
                <a:ea typeface="Arial Unicode MS" panose="020B0604020202020204" pitchFamily="34" charset="-128"/>
                <a:cs typeface="Arial Unicode MS" panose="020B0604020202020204" pitchFamily="34" charset="-128"/>
              </a:rPr>
              <a:t> like?</a:t>
            </a:r>
          </a:p>
          <a:p>
            <a:pPr>
              <a:lnSpc>
                <a:spcPct val="110000"/>
              </a:lnSpc>
              <a:spcBef>
                <a:spcPts val="0"/>
              </a:spcBef>
            </a:pPr>
            <a:endParaRPr lang="de-DE" sz="1200" b="1"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nly</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tar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with</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awarenes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ustome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a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omething</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ha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o</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hange</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iemens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fe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help</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ustomer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with</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deatio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proces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nvestigat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pportuniti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bas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on real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nc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low</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hanging</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fruit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hav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bee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dentifi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w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tar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mplementing</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mos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promising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do a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pro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value</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Bas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on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experienc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PoV</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new</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digital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landscap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be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design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a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roadmap</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fo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rolling</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ou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dentifi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be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reated</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caling</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up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firs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o</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dditional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asset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refully</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monitor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result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Exten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o</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furthe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plants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applicable</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Based</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on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ucces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roll ou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the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n</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be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started</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Review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landscap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roadmap</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ontinually</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p>
          <a:p>
            <a:pPr marL="231115" indent="-231115">
              <a:lnSpc>
                <a:spcPct val="110000"/>
              </a:lnSpc>
              <a:spcBef>
                <a:spcPts val="0"/>
              </a:spcBef>
              <a:buFont typeface="+mj-lt"/>
              <a:buAutoNum type="arabicPeriod"/>
            </a:pP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Go and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implement</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ll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us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cases</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nd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maximiz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th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value</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of</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your</a:t>
            </a:r>
            <a:r>
              <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 digital </a:t>
            </a:r>
            <a:r>
              <a:rPr lang="de-DE" sz="1200" dirty="0" err="1">
                <a:solidFill>
                  <a:srgbClr val="FF0000"/>
                </a:solidFill>
                <a:ea typeface="Arial Unicode MS" panose="020B0604020202020204" pitchFamily="34" charset="-128"/>
                <a:cs typeface="Arial Unicode MS" panose="020B0604020202020204" pitchFamily="34" charset="-128"/>
                <a:sym typeface="Wingdings" panose="05000000000000000000" pitchFamily="2" charset="2"/>
              </a:rPr>
              <a:t>enterprise</a:t>
            </a:r>
            <a:endParaRPr lang="de-DE" sz="1200" dirty="0">
              <a:solidFill>
                <a:srgbClr val="FF0000"/>
              </a:solidFill>
              <a:ea typeface="Arial Unicode MS" panose="020B0604020202020204" pitchFamily="34" charset="-128"/>
              <a:cs typeface="Arial Unicode MS" panose="020B0604020202020204" pitchFamily="34" charset="-128"/>
              <a:sym typeface="Wingdings" panose="05000000000000000000" pitchFamily="2" charset="2"/>
            </a:endParaRPr>
          </a:p>
          <a:p>
            <a:pPr marL="231115" indent="-231115">
              <a:lnSpc>
                <a:spcPct val="110000"/>
              </a:lnSpc>
              <a:spcBef>
                <a:spcPts val="0"/>
              </a:spcBef>
              <a:buFont typeface="+mj-lt"/>
              <a:buAutoNum type="arabicPeriod"/>
            </a:pPr>
            <a:endParaRPr lang="de-DE" sz="1200" b="1" dirty="0">
              <a:solidFill>
                <a:srgbClr val="FF0000"/>
              </a:solidFill>
              <a:highlight>
                <a:srgbClr val="FFFF00"/>
              </a:highlight>
              <a:ea typeface="Arial Unicode MS" panose="020B0604020202020204" pitchFamily="34" charset="-128"/>
              <a:cs typeface="Arial Unicode MS" panose="020B0604020202020204" pitchFamily="34" charset="-128"/>
              <a:sym typeface="Wingdings" panose="05000000000000000000" pitchFamily="2" charset="2"/>
            </a:endParaRPr>
          </a:p>
          <a:p>
            <a:pPr algn="l"/>
            <a:endParaRPr lang="en-US" dirty="0"/>
          </a:p>
        </p:txBody>
      </p:sp>
      <p:sp>
        <p:nvSpPr>
          <p:cNvPr id="4" name="Slide Number Placeholder 3"/>
          <p:cNvSpPr>
            <a:spLocks noGrp="1"/>
          </p:cNvSpPr>
          <p:nvPr>
            <p:ph type="sldNum" sz="quarter" idx="5"/>
          </p:nvPr>
        </p:nvSpPr>
        <p:spPr/>
        <p:txBody>
          <a:bodyPr/>
          <a:lstStyle/>
          <a:p>
            <a:pPr defTabSz="953348">
              <a:defRPr/>
            </a:pPr>
            <a:r>
              <a:rPr lang="de-DE" sz="1200">
                <a:solidFill>
                  <a:srgbClr val="000000"/>
                </a:solidFill>
                <a:latin typeface="Arial" pitchFamily="34" charset="0"/>
              </a:rPr>
              <a:t>Notes </a:t>
            </a:r>
            <a:fld id="{AD141568-5488-4AC9-B82D-9F5CE1225E2A}" type="slidenum">
              <a:rPr lang="de-DE" sz="1200">
                <a:solidFill>
                  <a:srgbClr val="000000"/>
                </a:solidFill>
                <a:latin typeface="Arial" pitchFamily="34" charset="0"/>
              </a:rPr>
              <a:pPr defTabSz="953348">
                <a:defRPr/>
              </a:pPr>
              <a:t>13</a:t>
            </a:fld>
            <a:endParaRPr lang="de-DE" sz="1200" dirty="0">
              <a:solidFill>
                <a:srgbClr val="000000"/>
              </a:solidFill>
              <a:latin typeface="Arial" pitchFamily="34" charset="0"/>
            </a:endParaRPr>
          </a:p>
        </p:txBody>
      </p:sp>
    </p:spTree>
    <p:extLst>
      <p:ext uri="{BB962C8B-B14F-4D97-AF65-F5344CB8AC3E}">
        <p14:creationId xmlns:p14="http://schemas.microsoft.com/office/powerpoint/2010/main" val="2714706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8" y="741363"/>
            <a:ext cx="6484937" cy="3646487"/>
          </a:xfrm>
        </p:spPr>
      </p:sp>
      <p:sp>
        <p:nvSpPr>
          <p:cNvPr id="3" name="Notes Placeholder 2"/>
          <p:cNvSpPr>
            <a:spLocks noGrp="1"/>
          </p:cNvSpPr>
          <p:nvPr>
            <p:ph type="body" idx="1"/>
          </p:nvPr>
        </p:nvSpPr>
        <p:spPr/>
        <p:txBody>
          <a:bodyPr/>
          <a:lstStyle/>
          <a:p>
            <a:r>
              <a:rPr lang="de-DE" dirty="0" err="1"/>
              <a:t>There</a:t>
            </a:r>
            <a:r>
              <a:rPr lang="de-DE" dirty="0"/>
              <a:t> </a:t>
            </a:r>
            <a:r>
              <a:rPr lang="de-DE" dirty="0" err="1"/>
              <a:t>exist</a:t>
            </a:r>
            <a:r>
              <a:rPr lang="de-DE" dirty="0"/>
              <a:t> </a:t>
            </a:r>
            <a:r>
              <a:rPr lang="de-DE" dirty="0" err="1"/>
              <a:t>many</a:t>
            </a:r>
            <a:r>
              <a:rPr lang="de-DE" dirty="0"/>
              <a:t> </a:t>
            </a:r>
            <a:r>
              <a:rPr lang="de-DE" dirty="0" err="1"/>
              <a:t>challanges</a:t>
            </a:r>
            <a:r>
              <a:rPr lang="de-DE" dirty="0"/>
              <a:t> in </a:t>
            </a:r>
            <a:r>
              <a:rPr lang="de-DE" dirty="0" err="1"/>
              <a:t>the</a:t>
            </a:r>
            <a:r>
              <a:rPr lang="de-DE" dirty="0"/>
              <a:t> </a:t>
            </a:r>
            <a:r>
              <a:rPr lang="de-DE" dirty="0" err="1"/>
              <a:t>water</a:t>
            </a:r>
            <a:r>
              <a:rPr lang="de-DE" dirty="0"/>
              <a:t> </a:t>
            </a:r>
            <a:r>
              <a:rPr lang="de-DE" dirty="0" err="1"/>
              <a:t>industry</a:t>
            </a:r>
            <a:r>
              <a:rPr lang="de-DE" dirty="0"/>
              <a:t> </a:t>
            </a:r>
            <a:r>
              <a:rPr lang="de-DE" dirty="0" err="1"/>
              <a:t>which</a:t>
            </a:r>
            <a:r>
              <a:rPr lang="de-DE" dirty="0"/>
              <a:t> </a:t>
            </a:r>
            <a:r>
              <a:rPr lang="de-DE" dirty="0" err="1"/>
              <a:t>are</a:t>
            </a:r>
            <a:r>
              <a:rPr lang="de-DE" dirty="0"/>
              <a:t> </a:t>
            </a:r>
            <a:r>
              <a:rPr lang="de-DE" dirty="0" err="1"/>
              <a:t>derived</a:t>
            </a:r>
            <a:r>
              <a:rPr lang="de-DE" dirty="0"/>
              <a:t> </a:t>
            </a:r>
            <a:r>
              <a:rPr lang="de-DE" dirty="0" err="1"/>
              <a:t>from</a:t>
            </a:r>
            <a:r>
              <a:rPr lang="de-DE" dirty="0"/>
              <a:t> </a:t>
            </a:r>
            <a:r>
              <a:rPr lang="de-DE" dirty="0" err="1"/>
              <a:t>the</a:t>
            </a:r>
            <a:r>
              <a:rPr lang="de-DE" dirty="0"/>
              <a:t> </a:t>
            </a:r>
            <a:r>
              <a:rPr lang="de-DE" dirty="0" err="1"/>
              <a:t>current</a:t>
            </a:r>
            <a:r>
              <a:rPr lang="de-DE" dirty="0"/>
              <a:t> Megatrends like </a:t>
            </a:r>
            <a:r>
              <a:rPr lang="de-DE" dirty="0" err="1"/>
              <a:t>climate</a:t>
            </a:r>
            <a:r>
              <a:rPr lang="de-DE" dirty="0"/>
              <a:t> </a:t>
            </a:r>
            <a:r>
              <a:rPr lang="de-DE" dirty="0" err="1"/>
              <a:t>change</a:t>
            </a:r>
            <a:r>
              <a:rPr lang="de-DE" dirty="0"/>
              <a:t>, </a:t>
            </a:r>
            <a:r>
              <a:rPr lang="de-DE" dirty="0" err="1"/>
              <a:t>urbanisation</a:t>
            </a:r>
            <a:r>
              <a:rPr lang="de-DE" dirty="0"/>
              <a:t> </a:t>
            </a:r>
            <a:r>
              <a:rPr lang="de-DE" dirty="0" err="1"/>
              <a:t>demographic</a:t>
            </a:r>
            <a:r>
              <a:rPr lang="de-DE" dirty="0"/>
              <a:t> </a:t>
            </a:r>
            <a:r>
              <a:rPr lang="de-DE" dirty="0" err="1"/>
              <a:t>change</a:t>
            </a:r>
            <a:r>
              <a:rPr lang="de-DE" dirty="0"/>
              <a:t> and digital </a:t>
            </a:r>
            <a:r>
              <a:rPr lang="de-DE" dirty="0" err="1"/>
              <a:t>technologies</a:t>
            </a:r>
            <a:r>
              <a:rPr lang="de-DE" dirty="0"/>
              <a:t>.</a:t>
            </a:r>
            <a:endParaRPr lang="en-US" dirty="0">
              <a:solidFill>
                <a:srgbClr val="FFFFFF"/>
              </a:solidFill>
              <a:ea typeface="Times New Roman" panose="02020603050405020304" pitchFamily="18" charset="0"/>
            </a:endParaRPr>
          </a:p>
          <a:p>
            <a:pPr marL="346672" indent="-346672" algn="just">
              <a:spcBef>
                <a:spcPts val="607"/>
              </a:spcBef>
              <a:buFont typeface="+mj-lt"/>
              <a:buAutoNum type="arabicPeriod"/>
            </a:pPr>
            <a:endParaRPr lang="en-US" dirty="0">
              <a:solidFill>
                <a:srgbClr val="FFFFFF"/>
              </a:solidFill>
              <a:ea typeface="Times New Roman" panose="02020603050405020304" pitchFamily="18" charset="0"/>
            </a:endParaRPr>
          </a:p>
          <a:p>
            <a:pPr algn="just">
              <a:spcBef>
                <a:spcPts val="607"/>
              </a:spcBef>
            </a:pPr>
            <a:r>
              <a:rPr lang="en-US" dirty="0">
                <a:solidFill>
                  <a:srgbClr val="FFFFFF"/>
                </a:solidFill>
                <a:ea typeface="Times New Roman" panose="02020603050405020304" pitchFamily="18" charset="0"/>
              </a:rPr>
              <a:t>The main task of water companies is to secure the supply of water: </a:t>
            </a:r>
            <a:endParaRPr lang="de-DE" dirty="0">
              <a:solidFill>
                <a:srgbClr val="FFFFFF"/>
              </a:solidFill>
              <a:latin typeface="Times New Roman" panose="02020603050405020304" pitchFamily="18" charset="0"/>
              <a:ea typeface="Times New Roman" panose="02020603050405020304" pitchFamily="18" charset="0"/>
            </a:endParaRPr>
          </a:p>
          <a:p>
            <a:pPr marL="632355" lvl="1" indent="-170126" algn="just">
              <a:spcBef>
                <a:spcPts val="607"/>
              </a:spcBef>
              <a:buFont typeface="Symbol" panose="05050102010706020507" pitchFamily="18" charset="2"/>
              <a:buChar char=""/>
            </a:pPr>
            <a:r>
              <a:rPr lang="en-US" dirty="0">
                <a:solidFill>
                  <a:srgbClr val="FFFFFF"/>
                </a:solidFill>
                <a:ea typeface="Times New Roman" panose="02020603050405020304" pitchFamily="18" charset="0"/>
              </a:rPr>
              <a:t>Sometimes companies are not aware how much and where a substantial portion of water is lost through leaks in water networks (NRW)</a:t>
            </a:r>
            <a:endParaRPr lang="de-DE" dirty="0">
              <a:solidFill>
                <a:srgbClr val="FFFFFF"/>
              </a:solidFill>
              <a:latin typeface="Times New Roman" panose="02020603050405020304" pitchFamily="18" charset="0"/>
              <a:ea typeface="Times New Roman" panose="02020603050405020304" pitchFamily="18" charset="0"/>
            </a:endParaRPr>
          </a:p>
          <a:p>
            <a:pPr marL="632355" lvl="1" indent="-170126" algn="just">
              <a:spcBef>
                <a:spcPts val="607"/>
              </a:spcBef>
              <a:buFont typeface="Symbol" panose="05050102010706020507" pitchFamily="18" charset="2"/>
              <a:buChar char=""/>
            </a:pPr>
            <a:r>
              <a:rPr lang="en-US" dirty="0">
                <a:solidFill>
                  <a:srgbClr val="FFFFFF"/>
                </a:solidFill>
                <a:ea typeface="Times New Roman" panose="02020603050405020304" pitchFamily="18" charset="0"/>
              </a:rPr>
              <a:t>The status of critical equipment and the knowledge about the probability to fail within a certain period of time is not known. </a:t>
            </a:r>
            <a:endParaRPr lang="de-DE" dirty="0">
              <a:solidFill>
                <a:srgbClr val="FFFFFF"/>
              </a:solidFill>
              <a:latin typeface="Times New Roman" panose="02020603050405020304" pitchFamily="18" charset="0"/>
              <a:ea typeface="Times New Roman" panose="02020603050405020304" pitchFamily="18" charset="0"/>
            </a:endParaRPr>
          </a:p>
          <a:p>
            <a:pPr marL="632355" lvl="1" indent="-170126" algn="just">
              <a:spcBef>
                <a:spcPts val="607"/>
              </a:spcBef>
              <a:buFont typeface="Symbol" panose="05050102010706020507" pitchFamily="18" charset="2"/>
              <a:buChar char=""/>
            </a:pPr>
            <a:r>
              <a:rPr lang="en-US" dirty="0">
                <a:solidFill>
                  <a:srgbClr val="FFFFFF"/>
                </a:solidFill>
                <a:ea typeface="Times New Roman" panose="02020603050405020304" pitchFamily="18" charset="0"/>
              </a:rPr>
              <a:t>They have to ensure water  quality on the way from the Water treatment plant to the end-user.</a:t>
            </a:r>
          </a:p>
          <a:p>
            <a:endParaRPr lang="de-DE" dirty="0"/>
          </a:p>
          <a:p>
            <a:r>
              <a:rPr lang="en-IE" dirty="0"/>
              <a:t>The introduction of computerised systems to the water industry over the past twenty years, has resulted in an abundance of valuable data that often sits unused or under-used, on disconnected systems. </a:t>
            </a:r>
          </a:p>
          <a:p>
            <a:endParaRPr lang="de-DE" dirty="0"/>
          </a:p>
          <a:p>
            <a:r>
              <a:rPr lang="de-DE" dirty="0"/>
              <a:t>Most </a:t>
            </a:r>
            <a:r>
              <a:rPr lang="de-DE" dirty="0" err="1"/>
              <a:t>of</a:t>
            </a:r>
            <a:r>
              <a:rPr lang="de-DE" dirty="0"/>
              <a:t> </a:t>
            </a:r>
            <a:r>
              <a:rPr lang="de-DE" dirty="0" err="1"/>
              <a:t>the</a:t>
            </a:r>
            <a:r>
              <a:rPr lang="de-DE" dirty="0"/>
              <a:t> </a:t>
            </a:r>
            <a:r>
              <a:rPr lang="de-DE" dirty="0" err="1"/>
              <a:t>challenges</a:t>
            </a:r>
            <a:r>
              <a:rPr lang="de-DE" dirty="0"/>
              <a:t>, </a:t>
            </a:r>
            <a:r>
              <a:rPr lang="de-DE" dirty="0" err="1"/>
              <a:t>which</a:t>
            </a:r>
            <a:r>
              <a:rPr lang="de-DE" dirty="0"/>
              <a:t> </a:t>
            </a:r>
            <a:r>
              <a:rPr lang="de-DE" dirty="0" err="1"/>
              <a:t>water</a:t>
            </a:r>
            <a:r>
              <a:rPr lang="de-DE" dirty="0"/>
              <a:t> </a:t>
            </a:r>
            <a:r>
              <a:rPr lang="de-DE" dirty="0" err="1"/>
              <a:t>transmission</a:t>
            </a:r>
            <a:r>
              <a:rPr lang="de-DE" dirty="0"/>
              <a:t> </a:t>
            </a:r>
            <a:r>
              <a:rPr lang="de-DE" dirty="0" err="1"/>
              <a:t>companies</a:t>
            </a:r>
            <a:r>
              <a:rPr lang="de-DE" dirty="0"/>
              <a:t> </a:t>
            </a:r>
            <a:r>
              <a:rPr lang="de-DE" dirty="0" err="1"/>
              <a:t>have</a:t>
            </a:r>
            <a:r>
              <a:rPr lang="de-DE" dirty="0"/>
              <a:t> </a:t>
            </a:r>
            <a:r>
              <a:rPr lang="de-DE" dirty="0" err="1"/>
              <a:t>been</a:t>
            </a:r>
            <a:r>
              <a:rPr lang="de-DE" dirty="0"/>
              <a:t> </a:t>
            </a:r>
            <a:r>
              <a:rPr lang="de-DE" dirty="0" err="1"/>
              <a:t>facing</a:t>
            </a:r>
            <a:r>
              <a:rPr lang="de-DE" dirty="0"/>
              <a:t> </a:t>
            </a:r>
            <a:r>
              <a:rPr lang="de-DE" dirty="0" err="1"/>
              <a:t>over</a:t>
            </a:r>
            <a:r>
              <a:rPr lang="de-DE" dirty="0"/>
              <a:t> </a:t>
            </a:r>
            <a:r>
              <a:rPr lang="de-DE" dirty="0" err="1"/>
              <a:t>the</a:t>
            </a:r>
            <a:r>
              <a:rPr lang="de-DE" dirty="0"/>
              <a:t> last </a:t>
            </a:r>
            <a:r>
              <a:rPr lang="de-DE" dirty="0" err="1"/>
              <a:t>decades</a:t>
            </a:r>
            <a:r>
              <a:rPr lang="de-DE" dirty="0"/>
              <a:t> </a:t>
            </a:r>
            <a:r>
              <a:rPr lang="de-DE" dirty="0" err="1"/>
              <a:t>can</a:t>
            </a:r>
            <a:r>
              <a:rPr lang="de-DE" dirty="0"/>
              <a:t> </a:t>
            </a:r>
            <a:r>
              <a:rPr lang="de-DE" dirty="0" err="1"/>
              <a:t>be</a:t>
            </a:r>
            <a:r>
              <a:rPr lang="de-DE" dirty="0"/>
              <a:t> </a:t>
            </a:r>
            <a:r>
              <a:rPr lang="de-DE" dirty="0" err="1"/>
              <a:t>mitigated</a:t>
            </a:r>
            <a:r>
              <a:rPr lang="de-DE" dirty="0"/>
              <a:t> </a:t>
            </a:r>
            <a:r>
              <a:rPr lang="de-DE" dirty="0" err="1"/>
              <a:t>or</a:t>
            </a:r>
            <a:r>
              <a:rPr lang="de-DE" dirty="0"/>
              <a:t> </a:t>
            </a:r>
            <a:r>
              <a:rPr lang="de-DE" dirty="0" err="1"/>
              <a:t>even</a:t>
            </a:r>
            <a:r>
              <a:rPr lang="de-DE" dirty="0"/>
              <a:t> </a:t>
            </a:r>
            <a:r>
              <a:rPr lang="de-DE" dirty="0" err="1"/>
              <a:t>overcome</a:t>
            </a:r>
            <a:r>
              <a:rPr lang="de-DE" dirty="0"/>
              <a:t> </a:t>
            </a:r>
            <a:r>
              <a:rPr lang="de-DE" dirty="0" err="1"/>
              <a:t>by</a:t>
            </a:r>
            <a:r>
              <a:rPr lang="de-DE" dirty="0"/>
              <a:t> </a:t>
            </a:r>
            <a:r>
              <a:rPr lang="de-DE" dirty="0" err="1"/>
              <a:t>applying</a:t>
            </a:r>
            <a:r>
              <a:rPr lang="de-DE" dirty="0"/>
              <a:t> </a:t>
            </a:r>
            <a:r>
              <a:rPr lang="de-DE" dirty="0" err="1"/>
              <a:t>state</a:t>
            </a:r>
            <a:r>
              <a:rPr lang="de-DE" dirty="0"/>
              <a:t> </a:t>
            </a:r>
            <a:r>
              <a:rPr lang="de-DE" dirty="0" err="1"/>
              <a:t>of</a:t>
            </a:r>
            <a:r>
              <a:rPr lang="de-DE" dirty="0"/>
              <a:t> </a:t>
            </a:r>
            <a:r>
              <a:rPr lang="de-DE" dirty="0" err="1"/>
              <a:t>the</a:t>
            </a:r>
            <a:r>
              <a:rPr lang="de-DE" dirty="0"/>
              <a:t> </a:t>
            </a:r>
            <a:r>
              <a:rPr lang="de-DE" dirty="0" err="1"/>
              <a:t>art</a:t>
            </a:r>
            <a:r>
              <a:rPr lang="de-DE" dirty="0"/>
              <a:t> </a:t>
            </a:r>
            <a:r>
              <a:rPr lang="de-DE" dirty="0" err="1"/>
              <a:t>data</a:t>
            </a:r>
            <a:r>
              <a:rPr lang="de-DE" dirty="0"/>
              <a:t> </a:t>
            </a:r>
            <a:r>
              <a:rPr lang="de-DE" dirty="0" err="1"/>
              <a:t>analytic</a:t>
            </a:r>
            <a:r>
              <a:rPr lang="de-DE" dirty="0"/>
              <a:t> </a:t>
            </a:r>
            <a:r>
              <a:rPr lang="de-DE" dirty="0" err="1"/>
              <a:t>technologies</a:t>
            </a:r>
            <a:r>
              <a:rPr lang="de-DE" dirty="0"/>
              <a:t>. </a:t>
            </a:r>
          </a:p>
          <a:p>
            <a:endParaRPr lang="en-US" dirty="0"/>
          </a:p>
        </p:txBody>
      </p:sp>
      <p:sp>
        <p:nvSpPr>
          <p:cNvPr id="4" name="Slide Number Placeholder 3"/>
          <p:cNvSpPr>
            <a:spLocks noGrp="1"/>
          </p:cNvSpPr>
          <p:nvPr>
            <p:ph type="sldNum" sz="quarter" idx="5"/>
          </p:nvPr>
        </p:nvSpPr>
        <p:spPr/>
        <p:txBody>
          <a:bodyPr/>
          <a:lstStyle/>
          <a:p>
            <a:pPr defTabSz="909875">
              <a:defRPr/>
            </a:pPr>
            <a:r>
              <a:rPr lang="de-DE" sz="1100">
                <a:solidFill>
                  <a:srgbClr val="000000"/>
                </a:solidFill>
                <a:latin typeface="Arial" pitchFamily="34" charset="0"/>
              </a:rPr>
              <a:t>Notes </a:t>
            </a:r>
            <a:fld id="{AD141568-5488-4AC9-B82D-9F5CE1225E2A}" type="slidenum">
              <a:rPr lang="de-DE" sz="1100">
                <a:solidFill>
                  <a:srgbClr val="000000"/>
                </a:solidFill>
                <a:latin typeface="Arial" pitchFamily="34" charset="0"/>
              </a:rPr>
              <a:pPr defTabSz="909875">
                <a:defRPr/>
              </a:pPr>
              <a:t>2</a:t>
            </a:fld>
            <a:endParaRPr lang="de-DE" sz="1100" dirty="0">
              <a:solidFill>
                <a:srgbClr val="000000"/>
              </a:solidFill>
              <a:latin typeface="Arial" pitchFamily="34" charset="0"/>
            </a:endParaRPr>
          </a:p>
        </p:txBody>
      </p:sp>
    </p:spTree>
    <p:extLst>
      <p:ext uri="{BB962C8B-B14F-4D97-AF65-F5344CB8AC3E}">
        <p14:creationId xmlns:p14="http://schemas.microsoft.com/office/powerpoint/2010/main" val="3450889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8" y="741363"/>
            <a:ext cx="6484937" cy="3646487"/>
          </a:xfrm>
        </p:spPr>
      </p:sp>
      <p:sp>
        <p:nvSpPr>
          <p:cNvPr id="3" name="Notes Placeholder 2"/>
          <p:cNvSpPr>
            <a:spLocks noGrp="1"/>
          </p:cNvSpPr>
          <p:nvPr>
            <p:ph type="body" idx="1"/>
          </p:nvPr>
        </p:nvSpPr>
        <p:spPr/>
        <p:txBody>
          <a:bodyPr/>
          <a:lstStyle/>
          <a:p>
            <a:r>
              <a:rPr lang="en-IE" dirty="0"/>
              <a:t>We want to support our customers to utilize their data and seize their opportunities.</a:t>
            </a:r>
          </a:p>
          <a:p>
            <a:endParaRPr lang="en-IE" dirty="0"/>
          </a:p>
          <a:p>
            <a:r>
              <a:rPr lang="en-IE" dirty="0"/>
              <a:t>And this can be achieved by Digital Twins.</a:t>
            </a:r>
          </a:p>
          <a:p>
            <a:endParaRPr lang="en-IE" dirty="0"/>
          </a:p>
          <a:p>
            <a:r>
              <a:rPr lang="en-IE" dirty="0"/>
              <a:t>Before we present you different kind of digital twin solutions we should have a look on the definition of a digital twin</a:t>
            </a:r>
          </a:p>
        </p:txBody>
      </p:sp>
      <p:sp>
        <p:nvSpPr>
          <p:cNvPr id="4" name="Slide Number Placeholder 3"/>
          <p:cNvSpPr>
            <a:spLocks noGrp="1"/>
          </p:cNvSpPr>
          <p:nvPr>
            <p:ph type="sldNum" sz="quarter" idx="5"/>
          </p:nvPr>
        </p:nvSpPr>
        <p:spPr/>
        <p:txBody>
          <a:bodyPr/>
          <a:lstStyle/>
          <a:p>
            <a:pPr defTabSz="909875">
              <a:defRPr/>
            </a:pPr>
            <a:r>
              <a:rPr lang="de-DE" sz="1100">
                <a:solidFill>
                  <a:srgbClr val="000000"/>
                </a:solidFill>
                <a:latin typeface="Arial" pitchFamily="34" charset="0"/>
              </a:rPr>
              <a:t>Notes </a:t>
            </a:r>
            <a:fld id="{AD141568-5488-4AC9-B82D-9F5CE1225E2A}" type="slidenum">
              <a:rPr lang="de-DE" sz="1100">
                <a:solidFill>
                  <a:srgbClr val="000000"/>
                </a:solidFill>
                <a:latin typeface="Arial" pitchFamily="34" charset="0"/>
              </a:rPr>
              <a:pPr defTabSz="909875">
                <a:defRPr/>
              </a:pPr>
              <a:t>3</a:t>
            </a:fld>
            <a:endParaRPr lang="de-DE" sz="1100" dirty="0">
              <a:solidFill>
                <a:srgbClr val="000000"/>
              </a:solidFill>
              <a:latin typeface="Arial" pitchFamily="34" charset="0"/>
            </a:endParaRPr>
          </a:p>
        </p:txBody>
      </p:sp>
    </p:spTree>
    <p:extLst>
      <p:ext uri="{BB962C8B-B14F-4D97-AF65-F5344CB8AC3E}">
        <p14:creationId xmlns:p14="http://schemas.microsoft.com/office/powerpoint/2010/main" val="66507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p:cNvSpPr>
            <a:spLocks noGrp="1" noRot="1" noChangeAspect="1" noTextEdit="1"/>
          </p:cNvSpPr>
          <p:nvPr>
            <p:ph type="sldImg"/>
          </p:nvPr>
        </p:nvSpPr>
        <p:spPr>
          <a:xfrm>
            <a:off x="84138" y="741363"/>
            <a:ext cx="6484937" cy="3646487"/>
          </a:xfrm>
          <a:ln/>
        </p:spPr>
      </p:sp>
      <p:sp>
        <p:nvSpPr>
          <p:cNvPr id="20483" name="Notizenplatzhalter 2"/>
          <p:cNvSpPr>
            <a:spLocks noGrp="1"/>
          </p:cNvSpPr>
          <p:nvPr>
            <p:ph type="body" idx="1"/>
          </p:nvPr>
        </p:nvSpPr>
        <p:spPr>
          <a:noFill/>
        </p:spPr>
        <p:txBody>
          <a:bodyPr/>
          <a:lstStyle/>
          <a:p>
            <a:endParaRPr lang="de-DE" altLang="de-DE" sz="1100" dirty="0"/>
          </a:p>
        </p:txBody>
      </p:sp>
      <p:sp>
        <p:nvSpPr>
          <p:cNvPr id="20484" name="Foliennummernplatzhalter 3"/>
          <p:cNvSpPr>
            <a:spLocks noGrp="1"/>
          </p:cNvSpPr>
          <p:nvPr>
            <p:ph type="sldNum" sz="quarter" idx="5"/>
          </p:nvPr>
        </p:nvSpPr>
        <p:spPr>
          <a:noFill/>
        </p:spPr>
        <p:txBody>
          <a:bodyPr/>
          <a:lstStyle>
            <a:lvl1pPr algn="l" defTabSz="958809" eaLnBrk="0" hangingPunct="0">
              <a:spcBef>
                <a:spcPct val="30000"/>
              </a:spcBef>
              <a:defRPr sz="1000">
                <a:solidFill>
                  <a:schemeClr val="tx1"/>
                </a:solidFill>
                <a:latin typeface="Arial" charset="0"/>
              </a:defRPr>
            </a:lvl1pPr>
            <a:lvl2pPr marL="719107" indent="-276579" algn="l" defTabSz="958809" eaLnBrk="0" hangingPunct="0">
              <a:spcBef>
                <a:spcPct val="30000"/>
              </a:spcBef>
              <a:defRPr sz="1000">
                <a:solidFill>
                  <a:schemeClr val="tx1"/>
                </a:solidFill>
                <a:latin typeface="Arial" charset="0"/>
              </a:defRPr>
            </a:lvl2pPr>
            <a:lvl3pPr marL="1106318" indent="-221264" algn="l" defTabSz="958809" eaLnBrk="0" hangingPunct="0">
              <a:spcBef>
                <a:spcPct val="30000"/>
              </a:spcBef>
              <a:defRPr sz="1000">
                <a:solidFill>
                  <a:schemeClr val="tx1"/>
                </a:solidFill>
                <a:latin typeface="Arial" charset="0"/>
              </a:defRPr>
            </a:lvl3pPr>
            <a:lvl4pPr marL="1548846" indent="-221264" algn="l" defTabSz="958809" eaLnBrk="0" hangingPunct="0">
              <a:spcBef>
                <a:spcPct val="30000"/>
              </a:spcBef>
              <a:defRPr sz="1000">
                <a:solidFill>
                  <a:schemeClr val="tx1"/>
                </a:solidFill>
                <a:latin typeface="Arial" charset="0"/>
              </a:defRPr>
            </a:lvl4pPr>
            <a:lvl5pPr marL="1991374" indent="-221264" algn="l" defTabSz="958809" eaLnBrk="0" hangingPunct="0">
              <a:spcBef>
                <a:spcPct val="30000"/>
              </a:spcBef>
              <a:defRPr sz="1000">
                <a:solidFill>
                  <a:schemeClr val="tx1"/>
                </a:solidFill>
                <a:latin typeface="Arial" charset="0"/>
              </a:defRPr>
            </a:lvl5pPr>
            <a:lvl6pPr marL="2433902" indent="-221264" defTabSz="958809" eaLnBrk="0" fontAlgn="base" hangingPunct="0">
              <a:spcBef>
                <a:spcPct val="30000"/>
              </a:spcBef>
              <a:spcAft>
                <a:spcPct val="0"/>
              </a:spcAft>
              <a:defRPr sz="1000">
                <a:solidFill>
                  <a:schemeClr val="tx1"/>
                </a:solidFill>
                <a:latin typeface="Arial" charset="0"/>
              </a:defRPr>
            </a:lvl6pPr>
            <a:lvl7pPr marL="2876428" indent="-221264" defTabSz="958809" eaLnBrk="0" fontAlgn="base" hangingPunct="0">
              <a:spcBef>
                <a:spcPct val="30000"/>
              </a:spcBef>
              <a:spcAft>
                <a:spcPct val="0"/>
              </a:spcAft>
              <a:defRPr sz="1000">
                <a:solidFill>
                  <a:schemeClr val="tx1"/>
                </a:solidFill>
                <a:latin typeface="Arial" charset="0"/>
              </a:defRPr>
            </a:lvl7pPr>
            <a:lvl8pPr marL="3318955" indent="-221264" defTabSz="958809" eaLnBrk="0" fontAlgn="base" hangingPunct="0">
              <a:spcBef>
                <a:spcPct val="30000"/>
              </a:spcBef>
              <a:spcAft>
                <a:spcPct val="0"/>
              </a:spcAft>
              <a:defRPr sz="1000">
                <a:solidFill>
                  <a:schemeClr val="tx1"/>
                </a:solidFill>
                <a:latin typeface="Arial" charset="0"/>
              </a:defRPr>
            </a:lvl8pPr>
            <a:lvl9pPr marL="3761484" indent="-221264" defTabSz="958809" eaLnBrk="0" fontAlgn="base" hangingPunct="0">
              <a:spcBef>
                <a:spcPct val="30000"/>
              </a:spcBef>
              <a:spcAft>
                <a:spcPct val="0"/>
              </a:spcAft>
              <a:defRPr sz="1000">
                <a:solidFill>
                  <a:schemeClr val="tx1"/>
                </a:solidFill>
                <a:latin typeface="Arial" charset="0"/>
              </a:defRPr>
            </a:lvl9pPr>
          </a:lstStyle>
          <a:p>
            <a:pPr algn="r" eaLnBrk="1" hangingPunct="1">
              <a:spcBef>
                <a:spcPct val="0"/>
              </a:spcBef>
            </a:pPr>
            <a:r>
              <a:rPr lang="en-US" altLang="de-DE" sz="1100"/>
              <a:t>Notice </a:t>
            </a:r>
            <a:fld id="{F19DD0DB-2ACB-4A1D-A590-F8016883BC54}" type="slidenum">
              <a:rPr lang="en-US" altLang="de-DE" sz="1100"/>
              <a:pPr algn="r" eaLnBrk="1" hangingPunct="1">
                <a:spcBef>
                  <a:spcPct val="0"/>
                </a:spcBef>
              </a:pPr>
              <a:t>4</a:t>
            </a:fld>
            <a:endParaRPr lang="en-US" altLang="de-DE" sz="110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defTabSz="924458" fontAlgn="auto">
              <a:spcBef>
                <a:spcPts val="0"/>
              </a:spcBef>
              <a:spcAft>
                <a:spcPts val="0"/>
              </a:spcAft>
              <a:defRPr/>
            </a:pPr>
            <a:r>
              <a:rPr lang="en-US" sz="1100" b="1" dirty="0">
                <a:solidFill>
                  <a:srgbClr val="00D7A0"/>
                </a:solidFill>
                <a:latin typeface="Arial"/>
                <a:ea typeface="+mn-ea"/>
              </a:rPr>
              <a:t>Notes</a:t>
            </a:r>
            <a:r>
              <a:rPr lang="en-US" sz="1100" dirty="0">
                <a:solidFill>
                  <a:srgbClr val="000000"/>
                </a:solidFill>
                <a:latin typeface="Arial"/>
                <a:ea typeface="+mn-ea"/>
              </a:rPr>
              <a:t> </a:t>
            </a:r>
            <a:fld id="{E76C657F-0E32-4130-ADDA-66B81138A76A}" type="slidenum">
              <a:rPr lang="en-US" sz="1100">
                <a:solidFill>
                  <a:srgbClr val="000000"/>
                </a:solidFill>
                <a:latin typeface="Arial"/>
                <a:ea typeface="+mn-ea"/>
              </a:rPr>
              <a:pPr defTabSz="924458" fontAlgn="auto">
                <a:spcBef>
                  <a:spcPts val="0"/>
                </a:spcBef>
                <a:spcAft>
                  <a:spcPts val="0"/>
                </a:spcAft>
                <a:defRPr/>
              </a:pPr>
              <a:t>5</a:t>
            </a:fld>
            <a:endParaRPr lang="en-US" sz="1100" dirty="0">
              <a:solidFill>
                <a:srgbClr val="000000"/>
              </a:solidFill>
              <a:latin typeface="Arial"/>
              <a:ea typeface="+mn-ea"/>
            </a:endParaRPr>
          </a:p>
        </p:txBody>
      </p:sp>
    </p:spTree>
    <p:extLst>
      <p:ext uri="{BB962C8B-B14F-4D97-AF65-F5344CB8AC3E}">
        <p14:creationId xmlns:p14="http://schemas.microsoft.com/office/powerpoint/2010/main" val="36388163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4025" y="622300"/>
            <a:ext cx="6084888" cy="3421063"/>
          </a:xfrm>
        </p:spPr>
      </p:sp>
      <p:sp>
        <p:nvSpPr>
          <p:cNvPr id="3" name="Notes Placeholder 2"/>
          <p:cNvSpPr>
            <a:spLocks noGrp="1"/>
          </p:cNvSpPr>
          <p:nvPr>
            <p:ph type="body" idx="1"/>
          </p:nvPr>
        </p:nvSpPr>
        <p:spPr/>
        <p:txBody>
          <a:bodyPr/>
          <a:lstStyle/>
          <a:p>
            <a:pPr defTabSz="924458">
              <a:spcBef>
                <a:spcPts val="0"/>
              </a:spcBef>
              <a:spcAft>
                <a:spcPts val="0"/>
              </a:spcAft>
              <a:defRPr/>
            </a:pPr>
            <a:r>
              <a:rPr lang="en-IE" b="0" dirty="0"/>
              <a:t>Water transmission industry today is usually highly automated and generates an abundance of complex data that could be of huge value. </a:t>
            </a:r>
          </a:p>
          <a:p>
            <a:pPr defTabSz="924458">
              <a:spcBef>
                <a:spcPts val="0"/>
              </a:spcBef>
              <a:spcAft>
                <a:spcPts val="0"/>
              </a:spcAft>
              <a:defRPr/>
            </a:pPr>
            <a:r>
              <a:rPr lang="en-IE" b="0" dirty="0"/>
              <a:t>However, the data is scattered over disparate silos. So here you see a number of important systems, where </a:t>
            </a:r>
            <a:r>
              <a:rPr lang="en-US" sz="1200" dirty="0">
                <a:cs typeface="Arial" panose="020B0604020202020204" pitchFamily="34" charset="0"/>
              </a:rPr>
              <a:t>tons of data are generated, which is sometimes difficult to retrieve and consolidate in a useful format. </a:t>
            </a:r>
          </a:p>
          <a:p>
            <a:pPr defTabSz="924458">
              <a:spcBef>
                <a:spcPts val="0"/>
              </a:spcBef>
              <a:spcAft>
                <a:spcPts val="0"/>
              </a:spcAft>
              <a:defRPr/>
            </a:pPr>
            <a:endParaRPr lang="en-US" sz="1200" dirty="0">
              <a:cs typeface="Arial" panose="020B0604020202020204" pitchFamily="34" charset="0"/>
            </a:endParaRPr>
          </a:p>
          <a:p>
            <a:pPr defTabSz="924458">
              <a:spcBef>
                <a:spcPts val="0"/>
              </a:spcBef>
              <a:spcAft>
                <a:spcPts val="0"/>
              </a:spcAft>
              <a:defRPr/>
            </a:pPr>
            <a:r>
              <a:rPr lang="en-US" sz="1200" dirty="0">
                <a:cs typeface="Arial" panose="020B0604020202020204" pitchFamily="34" charset="0"/>
              </a:rPr>
              <a:t>Sometimes also complex customer organizations and the allocation of data responsibility to separate departments is aggravating the situation. </a:t>
            </a:r>
            <a:endParaRPr lang="en-IE" sz="1200" dirty="0">
              <a:cs typeface="Arial" panose="020B0604020202020204" pitchFamily="34" charset="0"/>
            </a:endParaRPr>
          </a:p>
          <a:p>
            <a:r>
              <a:rPr lang="en-IE" b="0" dirty="0"/>
              <a:t>Collating and validating this data manually can be very time consuming and it happens that the data is either incorrect or quickly out of date.</a:t>
            </a:r>
          </a:p>
          <a:p>
            <a:endParaRPr lang="en-IE" b="0" dirty="0"/>
          </a:p>
          <a:p>
            <a:r>
              <a:rPr lang="en-IE" b="0" dirty="0"/>
              <a:t>In addition, the complexity of water transmission processes means that domain knowledge is essential to really understand the results. </a:t>
            </a:r>
          </a:p>
          <a:p>
            <a:endParaRPr lang="en-IE" b="0" dirty="0"/>
          </a:p>
          <a:p>
            <a:pPr defTabSz="924458"/>
            <a:r>
              <a:rPr lang="en-US" dirty="0">
                <a:solidFill>
                  <a:srgbClr val="00D7A0"/>
                </a:solidFill>
                <a:latin typeface="Arial"/>
                <a:ea typeface="+mn-ea"/>
                <a:sym typeface="Wingdings" panose="05000000000000000000" pitchFamily="2" charset="2"/>
              </a:rPr>
              <a:t>  </a:t>
            </a:r>
            <a:r>
              <a:rPr lang="en-US" dirty="0">
                <a:solidFill>
                  <a:srgbClr val="00D7A0"/>
                </a:solidFill>
                <a:latin typeface="Arial"/>
                <a:ea typeface="+mn-ea"/>
              </a:rPr>
              <a:t>Datasets from many different sources in the transportation process offer value that is </a:t>
            </a:r>
            <a:r>
              <a:rPr lang="en-US" b="1" dirty="0">
                <a:solidFill>
                  <a:srgbClr val="00D7A0"/>
                </a:solidFill>
                <a:latin typeface="Arial"/>
                <a:ea typeface="+mn-ea"/>
              </a:rPr>
              <a:t>not being fully </a:t>
            </a:r>
            <a:r>
              <a:rPr lang="en-US" b="1" dirty="0" err="1">
                <a:solidFill>
                  <a:srgbClr val="00D7A0"/>
                </a:solidFill>
                <a:latin typeface="Arial"/>
                <a:ea typeface="+mn-ea"/>
              </a:rPr>
              <a:t>realised</a:t>
            </a:r>
            <a:r>
              <a:rPr lang="en-US" b="1" dirty="0">
                <a:solidFill>
                  <a:srgbClr val="00D7A0"/>
                </a:solidFill>
                <a:latin typeface="Arial"/>
                <a:ea typeface="+mn-ea"/>
              </a:rPr>
              <a:t> as of now.</a:t>
            </a:r>
          </a:p>
          <a:p>
            <a:endParaRPr lang="en-IE" b="0" dirty="0"/>
          </a:p>
          <a:p>
            <a:endParaRPr lang="en-US" dirty="0"/>
          </a:p>
        </p:txBody>
      </p:sp>
      <p:sp>
        <p:nvSpPr>
          <p:cNvPr id="4" name="Slide Number Placeholder 3"/>
          <p:cNvSpPr>
            <a:spLocks noGrp="1"/>
          </p:cNvSpPr>
          <p:nvPr>
            <p:ph type="sldNum" sz="quarter" idx="5"/>
          </p:nvPr>
        </p:nvSpPr>
        <p:spPr/>
        <p:txBody>
          <a:bodyPr/>
          <a:lstStyle/>
          <a:p>
            <a:pPr defTabSz="924458" fontAlgn="auto">
              <a:spcBef>
                <a:spcPts val="0"/>
              </a:spcBef>
              <a:spcAft>
                <a:spcPts val="0"/>
              </a:spcAft>
              <a:defRPr/>
            </a:pPr>
            <a:r>
              <a:rPr lang="de-DE" sz="1100">
                <a:solidFill>
                  <a:srgbClr val="000000"/>
                </a:solidFill>
                <a:latin typeface="Arial" pitchFamily="34" charset="0"/>
                <a:ea typeface="+mn-ea"/>
              </a:rPr>
              <a:t>Notes </a:t>
            </a:r>
            <a:fld id="{AD141568-5488-4AC9-B82D-9F5CE1225E2A}" type="slidenum">
              <a:rPr lang="de-DE" sz="1100">
                <a:solidFill>
                  <a:srgbClr val="000000"/>
                </a:solidFill>
                <a:latin typeface="Arial" pitchFamily="34" charset="0"/>
                <a:ea typeface="+mn-ea"/>
              </a:rPr>
              <a:pPr defTabSz="924458" fontAlgn="auto">
                <a:spcBef>
                  <a:spcPts val="0"/>
                </a:spcBef>
                <a:spcAft>
                  <a:spcPts val="0"/>
                </a:spcAft>
                <a:defRPr/>
              </a:pPr>
              <a:t>6</a:t>
            </a:fld>
            <a:endParaRPr lang="de-DE" sz="1100" dirty="0">
              <a:solidFill>
                <a:srgbClr val="000000"/>
              </a:solidFill>
              <a:latin typeface="Arial" pitchFamily="34" charset="0"/>
              <a:ea typeface="+mn-ea"/>
            </a:endParaRPr>
          </a:p>
        </p:txBody>
      </p:sp>
    </p:spTree>
    <p:extLst>
      <p:ext uri="{BB962C8B-B14F-4D97-AF65-F5344CB8AC3E}">
        <p14:creationId xmlns:p14="http://schemas.microsoft.com/office/powerpoint/2010/main" val="3112301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pPr defTabSz="924458"/>
            <a:r>
              <a:rPr lang="en-US" dirty="0">
                <a:solidFill>
                  <a:srgbClr val="FFFFFF"/>
                </a:solidFill>
              </a:rPr>
              <a:t>Every plant or asset has documents and information which are scattered across various </a:t>
            </a:r>
            <a:br>
              <a:rPr lang="en-US" dirty="0">
                <a:solidFill>
                  <a:srgbClr val="FFFFFF"/>
                </a:solidFill>
              </a:rPr>
            </a:br>
            <a:r>
              <a:rPr lang="en-US" dirty="0">
                <a:solidFill>
                  <a:srgbClr val="FFFFFF"/>
                </a:solidFill>
              </a:rPr>
              <a:t>platforms and are available in various formats. Its is hard to find and access specific information.  </a:t>
            </a:r>
          </a:p>
          <a:p>
            <a:pPr defTabSz="924458"/>
            <a:endParaRPr lang="en-US" dirty="0">
              <a:solidFill>
                <a:srgbClr val="FFFFFF"/>
              </a:solidFill>
              <a:ea typeface="Arial Unicode MS" panose="020B0604020202020204" pitchFamily="34" charset="-128"/>
              <a:cs typeface="Arial Unicode MS" panose="020B0604020202020204" pitchFamily="34" charset="-128"/>
            </a:endParaRPr>
          </a:p>
          <a:p>
            <a:pPr defTabSz="924458"/>
            <a:r>
              <a:rPr lang="en-US" dirty="0">
                <a:solidFill>
                  <a:srgbClr val="FFFFFF"/>
                </a:solidFill>
              </a:rPr>
              <a:t>Besides the information being spread across silos, the relation between different pieces of information is not visible, this is what we call “</a:t>
            </a:r>
            <a:r>
              <a:rPr lang="en-US" dirty="0">
                <a:solidFill>
                  <a:srgbClr val="FF0000"/>
                </a:solidFill>
              </a:rPr>
              <a:t>unexploited</a:t>
            </a:r>
            <a:r>
              <a:rPr lang="en-US" dirty="0">
                <a:solidFill>
                  <a:srgbClr val="FFFFFF"/>
                </a:solidFill>
              </a:rPr>
              <a:t> data”. </a:t>
            </a:r>
          </a:p>
          <a:p>
            <a:pPr defTabSz="924458"/>
            <a:r>
              <a:rPr lang="en-US" dirty="0">
                <a:solidFill>
                  <a:srgbClr val="FFFFFF"/>
                </a:solidFill>
              </a:rPr>
              <a:t>Types of unstructured/unlinked data in different formats are: 1D (datasheets, lists, records), 2D (drawings, connectivity), and 3D (physical layout, geometry). </a:t>
            </a:r>
          </a:p>
          <a:p>
            <a:pPr defTabSz="924458"/>
            <a:endParaRPr lang="en-US" dirty="0">
              <a:solidFill>
                <a:srgbClr val="FFFFFF"/>
              </a:solidFill>
              <a:ea typeface="Arial Unicode MS" panose="020B0604020202020204" pitchFamily="34" charset="-128"/>
              <a:cs typeface="Arial Unicode MS" panose="020B0604020202020204" pitchFamily="34" charset="-128"/>
            </a:endParaRPr>
          </a:p>
          <a:p>
            <a:pPr defTabSz="924458"/>
            <a:r>
              <a:rPr lang="en-US" dirty="0">
                <a:solidFill>
                  <a:srgbClr val="FFFFFF"/>
                </a:solidFill>
              </a:rPr>
              <a:t>To solve this issue Siemens and Bentley Systems developed </a:t>
            </a:r>
            <a:r>
              <a:rPr lang="en-US" dirty="0" err="1">
                <a:solidFill>
                  <a:srgbClr val="FFFFFF"/>
                </a:solidFill>
              </a:rPr>
              <a:t>PlantSight</a:t>
            </a:r>
            <a:r>
              <a:rPr lang="en-US" dirty="0">
                <a:solidFill>
                  <a:srgbClr val="FFFFFF"/>
                </a:solidFill>
              </a:rPr>
              <a:t> which is an open, cloud-based solution </a:t>
            </a:r>
          </a:p>
          <a:p>
            <a:pPr defTabSz="924458"/>
            <a:r>
              <a:rPr lang="en-US" dirty="0">
                <a:solidFill>
                  <a:srgbClr val="FFFFFF"/>
                </a:solidFill>
              </a:rPr>
              <a:t>Plant Sight makes it possible to collect, connect, contextualize and validate and finally make use of this data, creating </a:t>
            </a:r>
            <a:br>
              <a:rPr lang="en-US" dirty="0">
                <a:solidFill>
                  <a:srgbClr val="FFFFFF"/>
                </a:solidFill>
              </a:rPr>
            </a:br>
            <a:r>
              <a:rPr lang="en-US" dirty="0">
                <a:solidFill>
                  <a:srgbClr val="FFFFFF"/>
                </a:solidFill>
              </a:rPr>
              <a:t>a complete, reliable and updated digital twin of your plant.</a:t>
            </a:r>
            <a:endParaRPr lang="en-US" dirty="0">
              <a:solidFill>
                <a:srgbClr val="FFFFFF"/>
              </a:solidFill>
              <a:ea typeface="Arial Unicode MS" panose="020B0604020202020204" pitchFamily="34" charset="-128"/>
              <a:cs typeface="Arial Unicode MS" panose="020B0604020202020204" pitchFamily="34" charset="-128"/>
            </a:endParaRPr>
          </a:p>
          <a:p>
            <a:pPr defTabSz="924458"/>
            <a:endParaRPr lang="en-US" dirty="0">
              <a:solidFill>
                <a:srgbClr val="FFFFFF"/>
              </a:solidFill>
              <a:ea typeface="Arial Unicode MS" panose="020B0604020202020204" pitchFamily="34" charset="-128"/>
              <a:cs typeface="Arial Unicode MS" panose="020B0604020202020204" pitchFamily="34" charset="-128"/>
            </a:endParaRPr>
          </a:p>
          <a:p>
            <a:pPr defTabSz="924458"/>
            <a:endParaRPr lang="en-US" dirty="0">
              <a:solidFill>
                <a:srgbClr val="FFFFFF"/>
              </a:solidFill>
              <a:ea typeface="Arial Unicode MS" panose="020B0604020202020204" pitchFamily="34" charset="-128"/>
              <a:cs typeface="Arial Unicode MS" panose="020B0604020202020204" pitchFamily="34" charset="-128"/>
            </a:endParaRPr>
          </a:p>
          <a:p>
            <a:endParaRPr lang="en-US" dirty="0"/>
          </a:p>
        </p:txBody>
      </p:sp>
      <p:sp>
        <p:nvSpPr>
          <p:cNvPr id="4" name="Foliennummernplatzhalter 3"/>
          <p:cNvSpPr>
            <a:spLocks noGrp="1"/>
          </p:cNvSpPr>
          <p:nvPr>
            <p:ph type="sldNum" sz="quarter" idx="5"/>
          </p:nvPr>
        </p:nvSpPr>
        <p:spPr/>
        <p:txBody>
          <a:bodyPr/>
          <a:lstStyle/>
          <a:p>
            <a:pPr defTabSz="924458" fontAlgn="auto">
              <a:spcBef>
                <a:spcPts val="0"/>
              </a:spcBef>
              <a:spcAft>
                <a:spcPts val="0"/>
              </a:spcAft>
              <a:defRPr/>
            </a:pPr>
            <a:r>
              <a:rPr lang="en-US" sz="1100" b="1" dirty="0">
                <a:solidFill>
                  <a:srgbClr val="00D7A0"/>
                </a:solidFill>
                <a:latin typeface="Arial"/>
                <a:ea typeface="+mn-ea"/>
              </a:rPr>
              <a:t>Notes</a:t>
            </a:r>
            <a:r>
              <a:rPr lang="en-US" sz="1100" dirty="0">
                <a:solidFill>
                  <a:srgbClr val="000000"/>
                </a:solidFill>
                <a:latin typeface="Arial"/>
                <a:ea typeface="+mn-ea"/>
              </a:rPr>
              <a:t> </a:t>
            </a:r>
            <a:fld id="{E76C657F-0E32-4130-ADDA-66B81138A76A}" type="slidenum">
              <a:rPr lang="en-US" sz="1100">
                <a:solidFill>
                  <a:srgbClr val="000000"/>
                </a:solidFill>
                <a:latin typeface="Arial"/>
                <a:ea typeface="+mn-ea"/>
              </a:rPr>
              <a:pPr defTabSz="924458" fontAlgn="auto">
                <a:spcBef>
                  <a:spcPts val="0"/>
                </a:spcBef>
                <a:spcAft>
                  <a:spcPts val="0"/>
                </a:spcAft>
                <a:defRPr/>
              </a:pPr>
              <a:t>7</a:t>
            </a:fld>
            <a:endParaRPr lang="en-US" sz="1100" dirty="0">
              <a:solidFill>
                <a:srgbClr val="000000"/>
              </a:solidFill>
              <a:latin typeface="Arial"/>
              <a:ea typeface="+mn-ea"/>
            </a:endParaRPr>
          </a:p>
        </p:txBody>
      </p:sp>
    </p:spTree>
    <p:extLst>
      <p:ext uri="{BB962C8B-B14F-4D97-AF65-F5344CB8AC3E}">
        <p14:creationId xmlns:p14="http://schemas.microsoft.com/office/powerpoint/2010/main" val="12381496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pPr defTabSz="924458"/>
            <a:r>
              <a:rPr lang="en-US" dirty="0">
                <a:solidFill>
                  <a:srgbClr val="FFFFFF"/>
                </a:solidFill>
              </a:rPr>
              <a:t>A complete and evergreen digital twin enables you to gain actionable insights and achieve a new level of collaboration across all disciplines and all levels. </a:t>
            </a:r>
          </a:p>
          <a:p>
            <a:pPr defTabSz="924458"/>
            <a:endParaRPr lang="en-US" dirty="0">
              <a:solidFill>
                <a:srgbClr val="FFFFFF"/>
              </a:solidFill>
            </a:endParaRPr>
          </a:p>
          <a:p>
            <a:pPr defTabSz="924458"/>
            <a:r>
              <a:rPr lang="en-US" dirty="0">
                <a:solidFill>
                  <a:srgbClr val="FFFFFF"/>
                </a:solidFill>
              </a:rPr>
              <a:t>Activities such as bad actor identification, reliability of critical assets, triggering of maintenance or modification activities, change management, and many </a:t>
            </a:r>
            <a:br>
              <a:rPr lang="en-US" dirty="0">
                <a:solidFill>
                  <a:srgbClr val="FFFFFF"/>
                </a:solidFill>
              </a:rPr>
            </a:br>
            <a:r>
              <a:rPr lang="en-US" dirty="0">
                <a:solidFill>
                  <a:srgbClr val="FFFFFF"/>
                </a:solidFill>
              </a:rPr>
              <a:t>others, are then possible via a unique, real-time updated digital asset portal. </a:t>
            </a:r>
          </a:p>
          <a:p>
            <a:pPr defTabSz="924458"/>
            <a:endParaRPr lang="en-US" dirty="0">
              <a:solidFill>
                <a:srgbClr val="FFFFFF"/>
              </a:solidFill>
            </a:endParaRPr>
          </a:p>
          <a:p>
            <a:pPr defTabSz="924458"/>
            <a:r>
              <a:rPr lang="en-US" dirty="0" err="1">
                <a:solidFill>
                  <a:srgbClr val="FFFFFF"/>
                </a:solidFill>
              </a:rPr>
              <a:t>Plantsight</a:t>
            </a:r>
            <a:r>
              <a:rPr lang="en-US" dirty="0">
                <a:solidFill>
                  <a:srgbClr val="FFFFFF"/>
                </a:solidFill>
              </a:rPr>
              <a:t> creates a digital twin, with identical data for all lifecycle phases. </a:t>
            </a:r>
          </a:p>
          <a:p>
            <a:pPr defTabSz="924458"/>
            <a:r>
              <a:rPr lang="en-US" dirty="0">
                <a:solidFill>
                  <a:srgbClr val="FFFFFF"/>
                </a:solidFill>
              </a:rPr>
              <a:t>It is important that both, the digital twin and the plant in the real world use the same data model on all levels which provides consistency in communication.</a:t>
            </a:r>
          </a:p>
          <a:p>
            <a:endParaRPr lang="en-US" dirty="0"/>
          </a:p>
        </p:txBody>
      </p:sp>
      <p:sp>
        <p:nvSpPr>
          <p:cNvPr id="4" name="Foliennummernplatzhalter 3"/>
          <p:cNvSpPr>
            <a:spLocks noGrp="1"/>
          </p:cNvSpPr>
          <p:nvPr>
            <p:ph type="sldNum" sz="quarter" idx="5"/>
          </p:nvPr>
        </p:nvSpPr>
        <p:spPr/>
        <p:txBody>
          <a:bodyPr/>
          <a:lstStyle/>
          <a:p>
            <a:pPr defTabSz="924458" fontAlgn="auto">
              <a:spcBef>
                <a:spcPts val="0"/>
              </a:spcBef>
              <a:spcAft>
                <a:spcPts val="0"/>
              </a:spcAft>
              <a:defRPr/>
            </a:pPr>
            <a:r>
              <a:rPr lang="en-US" sz="1100" b="1" dirty="0">
                <a:solidFill>
                  <a:srgbClr val="00D7A0"/>
                </a:solidFill>
                <a:latin typeface="Arial"/>
                <a:ea typeface="+mn-ea"/>
              </a:rPr>
              <a:t>Notes</a:t>
            </a:r>
            <a:r>
              <a:rPr lang="en-US" sz="1100" dirty="0">
                <a:solidFill>
                  <a:srgbClr val="000000"/>
                </a:solidFill>
                <a:latin typeface="Arial"/>
                <a:ea typeface="+mn-ea"/>
              </a:rPr>
              <a:t> </a:t>
            </a:r>
            <a:fld id="{E76C657F-0E32-4130-ADDA-66B81138A76A}" type="slidenum">
              <a:rPr lang="en-US" sz="1100">
                <a:solidFill>
                  <a:srgbClr val="000000"/>
                </a:solidFill>
                <a:latin typeface="Arial"/>
                <a:ea typeface="+mn-ea"/>
              </a:rPr>
              <a:pPr defTabSz="924458" fontAlgn="auto">
                <a:spcBef>
                  <a:spcPts val="0"/>
                </a:spcBef>
                <a:spcAft>
                  <a:spcPts val="0"/>
                </a:spcAft>
                <a:defRPr/>
              </a:pPr>
              <a:t>8</a:t>
            </a:fld>
            <a:endParaRPr lang="en-US" sz="1100" dirty="0">
              <a:solidFill>
                <a:srgbClr val="000000"/>
              </a:solidFill>
              <a:latin typeface="Arial"/>
              <a:ea typeface="+mn-ea"/>
            </a:endParaRPr>
          </a:p>
        </p:txBody>
      </p:sp>
    </p:spTree>
    <p:extLst>
      <p:ext uri="{BB962C8B-B14F-4D97-AF65-F5344CB8AC3E}">
        <p14:creationId xmlns:p14="http://schemas.microsoft.com/office/powerpoint/2010/main" val="30509908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54025" y="622300"/>
            <a:ext cx="6084888" cy="3421063"/>
          </a:xfrm>
        </p:spPr>
      </p:sp>
      <p:sp>
        <p:nvSpPr>
          <p:cNvPr id="3" name="Notizenplatzhalter 2"/>
          <p:cNvSpPr>
            <a:spLocks noGrp="1"/>
          </p:cNvSpPr>
          <p:nvPr>
            <p:ph type="body" idx="1"/>
          </p:nvPr>
        </p:nvSpPr>
        <p:spPr/>
        <p:txBody>
          <a:bodyPr/>
          <a:lstStyle/>
          <a:p>
            <a:r>
              <a:rPr lang="en-US" dirty="0" err="1">
                <a:latin typeface="Arial"/>
                <a:cs typeface="Arial"/>
              </a:rPr>
              <a:t>PlantSight</a:t>
            </a:r>
            <a:r>
              <a:rPr lang="en-US" dirty="0">
                <a:latin typeface="Arial"/>
                <a:cs typeface="Arial"/>
              </a:rPr>
              <a:t> – A Cloud Solution </a:t>
            </a:r>
            <a:r>
              <a:rPr lang="en-US" b="0" dirty="0">
                <a:latin typeface="Arial"/>
                <a:cs typeface="Arial"/>
              </a:rPr>
              <a:t>Advantages of Software as a Service</a:t>
            </a:r>
          </a:p>
          <a:p>
            <a:endParaRPr lang="en-US" b="0" dirty="0">
              <a:latin typeface="Arial"/>
              <a:cs typeface="Arial"/>
            </a:endParaRPr>
          </a:p>
          <a:p>
            <a:pPr defTabSz="923534" fontAlgn="auto">
              <a:lnSpc>
                <a:spcPct val="110000"/>
              </a:lnSpc>
              <a:spcBef>
                <a:spcPct val="0"/>
              </a:spcBef>
              <a:spcAft>
                <a:spcPts val="0"/>
              </a:spcAft>
              <a:defRPr/>
            </a:pPr>
            <a:r>
              <a:rPr lang="en-US" sz="1800" dirty="0">
                <a:solidFill>
                  <a:srgbClr val="00D7A0"/>
                </a:solidFill>
                <a:latin typeface="Arial"/>
              </a:rPr>
              <a:t>Easy Enabler:  </a:t>
            </a:r>
            <a:r>
              <a:rPr lang="en-US" dirty="0">
                <a:solidFill>
                  <a:prstClr val="white"/>
                </a:solidFill>
              </a:rPr>
              <a:t>Start to use the solution by accessing the solution with a web browser by the first day </a:t>
            </a:r>
            <a:r>
              <a:rPr lang="en-US" dirty="0">
                <a:solidFill>
                  <a:prstClr val="white"/>
                </a:solidFill>
                <a:sym typeface="Wingdings" panose="05000000000000000000" pitchFamily="2" charset="2"/>
              </a:rPr>
              <a:t> </a:t>
            </a:r>
            <a:r>
              <a:rPr lang="en-US" dirty="0">
                <a:solidFill>
                  <a:prstClr val="white"/>
                </a:solidFill>
              </a:rPr>
              <a:t>Low starting costs without barriers</a:t>
            </a:r>
          </a:p>
          <a:p>
            <a:pPr defTabSz="923534" fontAlgn="auto">
              <a:lnSpc>
                <a:spcPct val="110000"/>
              </a:lnSpc>
              <a:spcBef>
                <a:spcPct val="0"/>
              </a:spcBef>
              <a:spcAft>
                <a:spcPts val="0"/>
              </a:spcAft>
              <a:defRPr/>
            </a:pPr>
            <a:r>
              <a:rPr lang="en-US" dirty="0">
                <a:solidFill>
                  <a:srgbClr val="00D7A0"/>
                </a:solidFill>
                <a:latin typeface="Arial"/>
              </a:rPr>
              <a:t>Scalable and Flexible</a:t>
            </a:r>
          </a:p>
          <a:p>
            <a:pPr defTabSz="923534" fontAlgn="auto">
              <a:lnSpc>
                <a:spcPct val="110000"/>
              </a:lnSpc>
              <a:spcBef>
                <a:spcPct val="0"/>
              </a:spcBef>
              <a:spcAft>
                <a:spcPts val="0"/>
              </a:spcAft>
              <a:defRPr/>
            </a:pPr>
            <a:endParaRPr lang="en-US" dirty="0">
              <a:solidFill>
                <a:srgbClr val="00D7A0"/>
              </a:solidFill>
              <a:latin typeface="Arial"/>
            </a:endParaRPr>
          </a:p>
          <a:p>
            <a:pPr defTabSz="923534" fontAlgn="auto">
              <a:lnSpc>
                <a:spcPct val="110000"/>
              </a:lnSpc>
              <a:spcBef>
                <a:spcPct val="0"/>
              </a:spcBef>
              <a:spcAft>
                <a:spcPts val="0"/>
              </a:spcAft>
              <a:defRPr/>
            </a:pPr>
            <a:endParaRPr lang="en-US" dirty="0">
              <a:solidFill>
                <a:srgbClr val="00D7A0"/>
              </a:solidFill>
              <a:latin typeface="Arial"/>
            </a:endParaRPr>
          </a:p>
          <a:p>
            <a:pPr defTabSz="923534" fontAlgn="auto">
              <a:lnSpc>
                <a:spcPct val="110000"/>
              </a:lnSpc>
              <a:spcBef>
                <a:spcPct val="0"/>
              </a:spcBef>
              <a:spcAft>
                <a:spcPts val="0"/>
              </a:spcAft>
              <a:defRPr/>
            </a:pPr>
            <a:r>
              <a:rPr lang="en-US" b="1" dirty="0"/>
              <a:t>Considered over the life cycle of a project:</a:t>
            </a:r>
          </a:p>
          <a:p>
            <a:pPr defTabSz="923534" fontAlgn="auto">
              <a:lnSpc>
                <a:spcPct val="110000"/>
              </a:lnSpc>
              <a:spcBef>
                <a:spcPct val="0"/>
              </a:spcBef>
              <a:spcAft>
                <a:spcPts val="0"/>
              </a:spcAft>
              <a:defRPr/>
            </a:pPr>
            <a:r>
              <a:rPr lang="en-US" b="1" dirty="0"/>
              <a:t>First phase "Design":  </a:t>
            </a:r>
            <a:r>
              <a:rPr lang="en-US" dirty="0"/>
              <a:t>Dealing with complex project requirements, short implementation time and strict regulatory requirements ( project management ). </a:t>
            </a:r>
          </a:p>
          <a:p>
            <a:pPr defTabSz="923534" fontAlgn="auto">
              <a:lnSpc>
                <a:spcPct val="110000"/>
              </a:lnSpc>
              <a:spcBef>
                <a:spcPct val="0"/>
              </a:spcBef>
              <a:spcAft>
                <a:spcPts val="0"/>
              </a:spcAft>
              <a:defRPr/>
            </a:pPr>
            <a:r>
              <a:rPr lang="en-US" dirty="0"/>
              <a:t>With the help of the digital twin, the impact of different design alternatives can be explored and simulations and tests can be carried out to ensure that the project design meets the requirement.</a:t>
            </a:r>
          </a:p>
          <a:p>
            <a:pPr defTabSz="923534" fontAlgn="auto">
              <a:lnSpc>
                <a:spcPct val="110000"/>
              </a:lnSpc>
              <a:spcBef>
                <a:spcPct val="0"/>
              </a:spcBef>
              <a:spcAft>
                <a:spcPts val="0"/>
              </a:spcAft>
              <a:defRPr/>
            </a:pPr>
            <a:endParaRPr lang="en-US" dirty="0"/>
          </a:p>
          <a:p>
            <a:pPr defTabSz="923534" fontAlgn="auto">
              <a:lnSpc>
                <a:spcPct val="110000"/>
              </a:lnSpc>
              <a:spcBef>
                <a:spcPct val="0"/>
              </a:spcBef>
              <a:spcAft>
                <a:spcPts val="0"/>
              </a:spcAft>
              <a:defRPr/>
            </a:pPr>
            <a:r>
              <a:rPr lang="en-US" b="1" dirty="0"/>
              <a:t>Second phase "construction</a:t>
            </a:r>
            <a:r>
              <a:rPr lang="en-US" dirty="0"/>
              <a:t>": the digital twin can help achieve better efficiency, quality and yield during construction.</a:t>
            </a:r>
          </a:p>
          <a:p>
            <a:pPr defTabSz="923534" fontAlgn="auto">
              <a:lnSpc>
                <a:spcPct val="110000"/>
              </a:lnSpc>
              <a:spcBef>
                <a:spcPct val="0"/>
              </a:spcBef>
              <a:spcAft>
                <a:spcPts val="0"/>
              </a:spcAft>
              <a:defRPr/>
            </a:pPr>
            <a:endParaRPr lang="en-US" dirty="0"/>
          </a:p>
          <a:p>
            <a:pPr defTabSz="923534" fontAlgn="auto">
              <a:lnSpc>
                <a:spcPct val="110000"/>
              </a:lnSpc>
              <a:spcBef>
                <a:spcPct val="0"/>
              </a:spcBef>
              <a:spcAft>
                <a:spcPts val="0"/>
              </a:spcAft>
              <a:defRPr/>
            </a:pPr>
            <a:r>
              <a:rPr lang="en-US" b="1" dirty="0"/>
              <a:t>Third phase "Operation (operate)": </a:t>
            </a:r>
          </a:p>
          <a:p>
            <a:pPr defTabSz="923534" fontAlgn="auto">
              <a:lnSpc>
                <a:spcPct val="110000"/>
              </a:lnSpc>
              <a:spcBef>
                <a:spcPct val="0"/>
              </a:spcBef>
              <a:spcAft>
                <a:spcPts val="0"/>
              </a:spcAft>
              <a:defRPr/>
            </a:pPr>
            <a:r>
              <a:rPr lang="en-US" dirty="0"/>
              <a:t>The digital twin can be used to improve the availability and efficiency of processes. </a:t>
            </a:r>
          </a:p>
          <a:p>
            <a:pPr defTabSz="923534" fontAlgn="auto">
              <a:lnSpc>
                <a:spcPct val="110000"/>
              </a:lnSpc>
              <a:spcBef>
                <a:spcPct val="0"/>
              </a:spcBef>
              <a:spcAft>
                <a:spcPts val="0"/>
              </a:spcAft>
              <a:defRPr/>
            </a:pPr>
            <a:r>
              <a:rPr lang="en-US" dirty="0"/>
              <a:t>In addition, the digital twin can be used for migrations / maintenance / expansions / conversions, e.g. for planning or the evaluation of expansion potentials.</a:t>
            </a:r>
          </a:p>
          <a:p>
            <a:pPr defTabSz="923534" fontAlgn="auto">
              <a:lnSpc>
                <a:spcPct val="110000"/>
              </a:lnSpc>
              <a:spcBef>
                <a:spcPct val="0"/>
              </a:spcBef>
              <a:spcAft>
                <a:spcPts val="0"/>
              </a:spcAft>
              <a:defRPr/>
            </a:pPr>
            <a:endParaRPr lang="en-US" dirty="0"/>
          </a:p>
          <a:p>
            <a:pPr defTabSz="923534" fontAlgn="auto">
              <a:lnSpc>
                <a:spcPct val="110000"/>
              </a:lnSpc>
              <a:spcBef>
                <a:spcPct val="0"/>
              </a:spcBef>
              <a:spcAft>
                <a:spcPts val="0"/>
              </a:spcAft>
              <a:defRPr/>
            </a:pPr>
            <a:r>
              <a:rPr lang="en-US" dirty="0"/>
              <a:t>The connection of the real and virtual world enables the analysis of data, problems can be detected at an early stage or in time, before errors arise. </a:t>
            </a:r>
          </a:p>
          <a:p>
            <a:pPr defTabSz="923534" fontAlgn="auto">
              <a:lnSpc>
                <a:spcPct val="110000"/>
              </a:lnSpc>
              <a:spcBef>
                <a:spcPct val="0"/>
              </a:spcBef>
              <a:spcAft>
                <a:spcPts val="0"/>
              </a:spcAft>
              <a:defRPr/>
            </a:pPr>
            <a:r>
              <a:rPr lang="en-US" dirty="0"/>
              <a:t>Downtimes can be avoided. With the digital twin, scenarios can be created away from the actual plant in order to better plan conversions, expansions, etc..</a:t>
            </a:r>
          </a:p>
          <a:p>
            <a:pPr defTabSz="923534" fontAlgn="auto">
              <a:lnSpc>
                <a:spcPct val="110000"/>
              </a:lnSpc>
              <a:spcBef>
                <a:spcPct val="0"/>
              </a:spcBef>
              <a:spcAft>
                <a:spcPts val="0"/>
              </a:spcAft>
              <a:defRPr/>
            </a:pPr>
            <a:r>
              <a:rPr lang="en-US" dirty="0"/>
              <a:t>Such scenarios can also be used to </a:t>
            </a:r>
            <a:r>
              <a:rPr lang="en-US" dirty="0" err="1"/>
              <a:t>optimise</a:t>
            </a:r>
            <a:r>
              <a:rPr lang="en-US" dirty="0"/>
              <a:t> operating sequences and processes before going into an expensive proof of concept. </a:t>
            </a:r>
          </a:p>
          <a:p>
            <a:pPr defTabSz="923534" fontAlgn="auto">
              <a:lnSpc>
                <a:spcPct val="110000"/>
              </a:lnSpc>
              <a:spcBef>
                <a:spcPct val="0"/>
              </a:spcBef>
              <a:spcAft>
                <a:spcPts val="0"/>
              </a:spcAft>
              <a:defRPr/>
            </a:pPr>
            <a:endParaRPr lang="en-US" dirty="0"/>
          </a:p>
          <a:p>
            <a:pPr defTabSz="923534" fontAlgn="auto">
              <a:lnSpc>
                <a:spcPct val="110000"/>
              </a:lnSpc>
              <a:spcBef>
                <a:spcPct val="0"/>
              </a:spcBef>
              <a:spcAft>
                <a:spcPts val="0"/>
              </a:spcAft>
              <a:defRPr/>
            </a:pPr>
            <a:r>
              <a:rPr lang="en-US" dirty="0"/>
              <a:t>Simulation for the engineering phase / commissioning phase</a:t>
            </a:r>
          </a:p>
          <a:p>
            <a:pPr defTabSz="923534" fontAlgn="auto">
              <a:lnSpc>
                <a:spcPct val="110000"/>
              </a:lnSpc>
              <a:spcBef>
                <a:spcPct val="0"/>
              </a:spcBef>
              <a:spcAft>
                <a:spcPts val="0"/>
              </a:spcAft>
              <a:defRPr/>
            </a:pPr>
            <a:r>
              <a:rPr lang="en-US" dirty="0"/>
              <a:t>Simulation for </a:t>
            </a:r>
            <a:r>
              <a:rPr lang="en-US" dirty="0" err="1"/>
              <a:t>optimising</a:t>
            </a:r>
            <a:r>
              <a:rPr lang="en-US" dirty="0"/>
              <a:t> operating procedures</a:t>
            </a:r>
          </a:p>
          <a:p>
            <a:pPr defTabSz="923534" fontAlgn="auto">
              <a:lnSpc>
                <a:spcPct val="110000"/>
              </a:lnSpc>
              <a:spcBef>
                <a:spcPct val="0"/>
              </a:spcBef>
              <a:spcAft>
                <a:spcPts val="0"/>
              </a:spcAft>
              <a:defRPr/>
            </a:pPr>
            <a:r>
              <a:rPr lang="en-US" dirty="0"/>
              <a:t>Simulation for planning extensions / conversions / maintenance and servicing</a:t>
            </a:r>
          </a:p>
          <a:p>
            <a:pPr defTabSz="923534" fontAlgn="auto">
              <a:lnSpc>
                <a:spcPct val="110000"/>
              </a:lnSpc>
              <a:spcBef>
                <a:spcPct val="0"/>
              </a:spcBef>
              <a:spcAft>
                <a:spcPts val="0"/>
              </a:spcAft>
              <a:defRPr/>
            </a:pPr>
            <a:endParaRPr lang="en-US" dirty="0"/>
          </a:p>
        </p:txBody>
      </p:sp>
      <p:sp>
        <p:nvSpPr>
          <p:cNvPr id="4" name="Foliennummernplatzhalter 3"/>
          <p:cNvSpPr>
            <a:spLocks noGrp="1"/>
          </p:cNvSpPr>
          <p:nvPr>
            <p:ph type="sldNum" sz="quarter" idx="5"/>
          </p:nvPr>
        </p:nvSpPr>
        <p:spPr/>
        <p:txBody>
          <a:bodyPr/>
          <a:lstStyle/>
          <a:p>
            <a:r>
              <a:rPr lang="en-US" b="1" dirty="0">
                <a:solidFill>
                  <a:schemeClr val="accent2"/>
                </a:solidFill>
              </a:rPr>
              <a:t>Notes</a:t>
            </a:r>
            <a:r>
              <a:rPr lang="en-US" dirty="0"/>
              <a:t> </a:t>
            </a:r>
            <a:fld id="{E76C657F-0E32-4130-ADDA-66B81138A76A}" type="slidenum">
              <a:rPr lang="en-US" smtClean="0"/>
              <a:pPr/>
              <a:t>9</a:t>
            </a:fld>
            <a:endParaRPr lang="en-US" dirty="0"/>
          </a:p>
        </p:txBody>
      </p:sp>
    </p:spTree>
    <p:extLst>
      <p:ext uri="{BB962C8B-B14F-4D97-AF65-F5344CB8AC3E}">
        <p14:creationId xmlns:p14="http://schemas.microsoft.com/office/powerpoint/2010/main" val="75620401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3.xml"/><Relationship Id="rId1" Type="http://schemas.openxmlformats.org/officeDocument/2006/relationships/vmlDrawing" Target="../drawings/vmlDrawing1.vml"/><Relationship Id="rId6" Type="http://schemas.openxmlformats.org/officeDocument/2006/relationships/image" Target="../media/image3.jpeg"/><Relationship Id="rId5" Type="http://schemas.openxmlformats.org/officeDocument/2006/relationships/image" Target="../media/image2.emf"/><Relationship Id="rId10" Type="http://schemas.openxmlformats.org/officeDocument/2006/relationships/image" Target="../media/image7.svg"/><Relationship Id="rId4" Type="http://schemas.openxmlformats.org/officeDocument/2006/relationships/oleObject" Target="../embeddings/oleObject1.bin"/><Relationship Id="rId9"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8.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Deep Blue 80pt">
    <p:bg>
      <p:bgRef idx="1001">
        <a:schemeClr val="bg2"/>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63BA496-70B5-400C-B9E4-4F7BA8C11C81}"/>
              </a:ext>
            </a:extLst>
          </p:cNvPr>
          <p:cNvGraphicFramePr>
            <a:graphicFrameLocks noChangeAspect="1"/>
          </p:cNvGraphicFramePr>
          <p:nvPr userDrawn="1">
            <p:custDataLst>
              <p:tags r:id="rId2"/>
            </p:custDataLst>
            <p:extLst>
              <p:ext uri="{D42A27DB-BD31-4B8C-83A1-F6EECF244321}">
                <p14:modId xmlns:p14="http://schemas.microsoft.com/office/powerpoint/2010/main" val="1274420309"/>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491524" name="think-cell Folie" r:id="rId4" imgW="306" imgH="306" progId="TCLayout.ActiveDocument.1">
                  <p:embed/>
                </p:oleObj>
              </mc:Choice>
              <mc:Fallback>
                <p:oleObj name="think-cell Folie" r:id="rId4" imgW="306" imgH="306" progId="TCLayout.ActiveDocument.1">
                  <p:embed/>
                  <p:pic>
                    <p:nvPicPr>
                      <p:cNvPr id="7" name="Objekt 6" hidden="1">
                        <a:extLst>
                          <a:ext uri="{FF2B5EF4-FFF2-40B4-BE49-F238E27FC236}">
                            <a16:creationId xmlns:a16="http://schemas.microsoft.com/office/drawing/2014/main" id="{E63BA496-70B5-400C-B9E4-4F7BA8C11C81}"/>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835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614" y="1414465"/>
            <a:ext cx="11382713" cy="2862080"/>
          </a:xfrm>
          <a:blipFill dpi="0"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b="700"/>
            </a:stretch>
          </a:blipFill>
        </p:spPr>
        <p:txBody>
          <a:bodyPr vert="horz" rIns="0" bIns="0" anchor="t" anchorCtr="0">
            <a:spAutoFit/>
          </a:bodyPr>
          <a:lstStyle>
            <a:lvl1pPr marL="540000" rtl="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377" y="3876677"/>
            <a:ext cx="9292838" cy="1930398"/>
          </a:xfrm>
          <a:prstGeom prst="rect">
            <a:avLst/>
          </a:prstGeom>
        </p:spPr>
        <p:txBody>
          <a:bodyPr lIns="0" tIns="349200">
            <a:noAutofit/>
          </a:bodyPr>
          <a:lstStyle>
            <a:lvl1pPr marL="0" indent="0" algn="l" rtl="0">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377" y="6310800"/>
            <a:ext cx="9292838" cy="547200"/>
          </a:xfrm>
        </p:spPr>
        <p:txBody>
          <a:bodyPr/>
          <a:lstStyle>
            <a:lvl1pPr rtl="0">
              <a:defRPr/>
            </a:lvl1pPr>
          </a:lstStyle>
          <a:p>
            <a:r>
              <a:rPr lang="en-US"/>
              <a:t>Unrestricted | © Siemens 2021 | PlantSight | May 2021</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9" cstate="print">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0279751" y="6364800"/>
            <a:ext cx="1512788" cy="240408"/>
          </a:xfrm>
          <a:prstGeom prst="rect">
            <a:avLst/>
          </a:prstGeom>
        </p:spPr>
      </p:pic>
    </p:spTree>
    <p:extLst>
      <p:ext uri="{BB962C8B-B14F-4D97-AF65-F5344CB8AC3E}">
        <p14:creationId xmlns:p14="http://schemas.microsoft.com/office/powerpoint/2010/main" val="25463352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bwMode="black"/>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bwMode="black"/>
        <p:txBody>
          <a:bodyPr/>
          <a:lstStyle/>
          <a:p>
            <a:pPr>
              <a:lnSpc>
                <a:spcPct val="100000"/>
              </a:lnSpc>
            </a:pPr>
            <a:r>
              <a:rPr lang="en-US"/>
              <a:t>Restricted | © Siemens 2022 | September 2021</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bwMode="black"/>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bwMode="black">
          <a:xfrm>
            <a:off x="10640727" y="6418800"/>
            <a:ext cx="1152600" cy="183168"/>
          </a:xfrm>
          <a:prstGeom prst="rect">
            <a:avLst/>
          </a:prstGeom>
        </p:spPr>
      </p:pic>
    </p:spTree>
    <p:extLst>
      <p:ext uri="{BB962C8B-B14F-4D97-AF65-F5344CB8AC3E}">
        <p14:creationId xmlns:p14="http://schemas.microsoft.com/office/powerpoint/2010/main" val="235313591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Full bleed color Deep Blue (with key visual)">
    <p:bg>
      <p:bgRef idx="1001">
        <a:schemeClr val="bg2"/>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C623722-C0AA-4376-B4E9-CE8B774D7E95}"/>
              </a:ext>
            </a:extLst>
          </p:cNvPr>
          <p:cNvGraphicFramePr>
            <a:graphicFrameLocks noChangeAspect="1"/>
          </p:cNvGraphicFramePr>
          <p:nvPr userDrawn="1">
            <p:custDataLst>
              <p:tags r:id="rId2"/>
            </p:custDataLst>
            <p:extLst>
              <p:ext uri="{D42A27DB-BD31-4B8C-83A1-F6EECF244321}">
                <p14:modId xmlns:p14="http://schemas.microsoft.com/office/powerpoint/2010/main" val="1462408585"/>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492548" name="think-cell Folie" r:id="rId4" imgW="306" imgH="306" progId="TCLayout.ActiveDocument.1">
                  <p:embed/>
                </p:oleObj>
              </mc:Choice>
              <mc:Fallback>
                <p:oleObj name="think-cell Folie" r:id="rId4" imgW="306" imgH="306" progId="TCLayout.ActiveDocument.1">
                  <p:embed/>
                  <p:pic>
                    <p:nvPicPr>
                      <p:cNvPr id="8" name="Objekt 7" hidden="1">
                        <a:extLst>
                          <a:ext uri="{FF2B5EF4-FFF2-40B4-BE49-F238E27FC236}">
                            <a16:creationId xmlns:a16="http://schemas.microsoft.com/office/drawing/2014/main" id="{0C623722-C0AA-4376-B4E9-CE8B774D7E95}"/>
                          </a:ext>
                        </a:extLst>
                      </p:cNvPr>
                      <p:cNvPicPr/>
                      <p:nvPr/>
                    </p:nvPicPr>
                    <p:blipFill>
                      <a:blip r:embed="rId5"/>
                      <a:stretch>
                        <a:fillRect/>
                      </a:stretch>
                    </p:blipFill>
                    <p:spPr>
                      <a:xfrm>
                        <a:off x="1589" y="1588"/>
                        <a:ext cx="1589" cy="1588"/>
                      </a:xfrm>
                      <a:prstGeom prst="rect">
                        <a:avLst/>
                      </a:prstGeom>
                    </p:spPr>
                  </p:pic>
                </p:oleObj>
              </mc:Fallback>
            </mc:AlternateContent>
          </a:graphicData>
        </a:graphic>
      </p:graphicFrame>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0" y="0"/>
            <a:ext cx="1219835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vert="horz"/>
          <a:lstStyle>
            <a:lvl1pPr rtl="0">
              <a:defRPr>
                <a:solidFill>
                  <a:schemeClr val="tx1"/>
                </a:solidFill>
              </a:defRPr>
            </a:lvl1pPr>
          </a:lstStyle>
          <a:p>
            <a:r>
              <a:rPr lang="en-US"/>
              <a:t>Mastertitelformat bearbeiten</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lvl1pPr rtl="0">
              <a:defRPr/>
            </a:lvl1pPr>
          </a:lstStyle>
          <a:p>
            <a:r>
              <a:rPr lang="en-US"/>
              <a:t>Unrestricted | © Siemens 2021 | PlantSight | May 2021</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lvl1pPr rtl="0">
              <a:defRPr/>
            </a:lvl1p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640727" y="6418800"/>
            <a:ext cx="1152600" cy="183168"/>
          </a:xfrm>
          <a:prstGeom prst="rect">
            <a:avLst/>
          </a:prstGeom>
        </p:spPr>
      </p:pic>
    </p:spTree>
    <p:extLst>
      <p:ext uri="{BB962C8B-B14F-4D97-AF65-F5344CB8AC3E}">
        <p14:creationId xmlns:p14="http://schemas.microsoft.com/office/powerpoint/2010/main" val="391902229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Full bleed image">
    <p:bg>
      <p:bgPr>
        <a:solidFill>
          <a:srgbClr val="FFFFFF"/>
        </a:solidFill>
        <a:effectLst/>
      </p:bgPr>
    </p:bg>
    <p:spTree>
      <p:nvGrpSpPr>
        <p:cNvPr id="1" name=""/>
        <p:cNvGrpSpPr/>
        <p:nvPr/>
      </p:nvGrpSpPr>
      <p:grpSpPr>
        <a:xfrm>
          <a:off x="0" y="0"/>
          <a:ext cx="0" cy="0"/>
          <a:chOff x="0" y="0"/>
          <a:chExt cx="0" cy="0"/>
        </a:xfrm>
      </p:grpSpPr>
      <p:sp>
        <p:nvSpPr>
          <p:cNvPr id="5" name="Rechteck 4"/>
          <p:cNvSpPr/>
          <p:nvPr userDrawn="1"/>
        </p:nvSpPr>
        <p:spPr bwMode="auto">
          <a:xfrm>
            <a:off x="0" y="0"/>
            <a:ext cx="12198350" cy="1439999"/>
          </a:xfrm>
          <a:prstGeom prst="rect">
            <a:avLst/>
          </a:prstGeom>
          <a:solidFill>
            <a:srgbClr val="FFFFFF"/>
          </a:solidFill>
          <a:ln w="127">
            <a:solidFill>
              <a:srgbClr val="FFFFFF"/>
            </a:solidFill>
          </a:ln>
          <a:effectLst/>
        </p:spPr>
        <p:txBody>
          <a:bodyPr wrap="square" lIns="108000" tIns="54000" rIns="108000" bIns="54000" numCol="1" spcCol="72000" rtlCol="0" anchor="ctr">
            <a:noAutofit/>
          </a:bodyPr>
          <a:lstStyle/>
          <a:p>
            <a:pPr algn="ctr">
              <a:lnSpc>
                <a:spcPct val="110000"/>
              </a:lnSpc>
              <a:spcBef>
                <a:spcPct val="0"/>
              </a:spcBef>
              <a:buFont typeface="Wingdings" charset="0"/>
              <a:buNone/>
            </a:pPr>
            <a:endParaRPr lang="de-DE" sz="1800" noProof="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 name="Bildplatzhalter 3"/>
          <p:cNvSpPr>
            <a:spLocks noGrp="1"/>
          </p:cNvSpPr>
          <p:nvPr>
            <p:ph type="pic" sz="quarter" idx="10"/>
          </p:nvPr>
        </p:nvSpPr>
        <p:spPr>
          <a:xfrm>
            <a:off x="0" y="-2784"/>
            <a:ext cx="12196800" cy="6858000"/>
          </a:xfrm>
          <a:noFill/>
        </p:spPr>
        <p:txBody>
          <a:bodyPr tIns="1800000"/>
          <a:lstStyle>
            <a:lvl1pPr algn="ctr">
              <a:defRPr/>
            </a:lvl1pPr>
          </a:lstStyle>
          <a:p>
            <a:r>
              <a:rPr lang="de-DE" noProof="0"/>
              <a:t>Bild durch Klicken auf Symbol hinzufügen</a:t>
            </a:r>
            <a:endParaRPr lang="en-US" noProof="0" dirty="0"/>
          </a:p>
        </p:txBody>
      </p:sp>
      <p:sp>
        <p:nvSpPr>
          <p:cNvPr id="3" name="Title 2">
            <a:extLst>
              <a:ext uri="{FF2B5EF4-FFF2-40B4-BE49-F238E27FC236}">
                <a16:creationId xmlns:a16="http://schemas.microsoft.com/office/drawing/2014/main" id="{7BE7250C-7C05-40BB-9D94-0F649010E900}"/>
              </a:ext>
            </a:extLst>
          </p:cNvPr>
          <p:cNvSpPr>
            <a:spLocks noGrp="1"/>
          </p:cNvSpPr>
          <p:nvPr>
            <p:ph type="title" hasCustomPrompt="1"/>
          </p:nvPr>
        </p:nvSpPr>
        <p:spPr>
          <a:xfrm>
            <a:off x="0" y="-1"/>
            <a:ext cx="12198350" cy="1414800"/>
          </a:xfrm>
        </p:spPr>
        <p:txBody>
          <a:bodyPr/>
          <a:lstStyle>
            <a:lvl1pPr>
              <a:defRPr>
                <a:solidFill>
                  <a:schemeClr val="bg1"/>
                </a:solidFill>
              </a:defRPr>
            </a:lvl1pPr>
          </a:lstStyle>
          <a:p>
            <a:r>
              <a:rPr lang="en-US" noProof="0" dirty="0"/>
              <a:t>EPCOR Plant Automation &amp; Digitalization project – RFQ</a:t>
            </a:r>
            <a:br>
              <a:rPr lang="en-US" noProof="0" dirty="0"/>
            </a:br>
            <a:r>
              <a:rPr lang="de-DE" dirty="0"/>
              <a:t>Titelmasterformat durch Klicken bearbeiten</a:t>
            </a:r>
            <a:endParaRPr lang="en-US" dirty="0"/>
          </a:p>
        </p:txBody>
      </p:sp>
      <p:grpSp>
        <p:nvGrpSpPr>
          <p:cNvPr id="52" name="Gruppieren 3">
            <a:extLst>
              <a:ext uri="{FF2B5EF4-FFF2-40B4-BE49-F238E27FC236}">
                <a16:creationId xmlns:a16="http://schemas.microsoft.com/office/drawing/2014/main" id="{2B994D0D-121F-4635-8B29-F2EB34D32054}"/>
              </a:ext>
            </a:extLst>
          </p:cNvPr>
          <p:cNvGrpSpPr/>
          <p:nvPr userDrawn="1"/>
        </p:nvGrpSpPr>
        <p:grpSpPr>
          <a:xfrm>
            <a:off x="-216000" y="-216000"/>
            <a:ext cx="12628800" cy="7290000"/>
            <a:chOff x="-216000" y="-216000"/>
            <a:chExt cx="12628800" cy="7290000"/>
          </a:xfrm>
        </p:grpSpPr>
        <p:cxnSp>
          <p:nvCxnSpPr>
            <p:cNvPr id="53" name="Gerade Verbindung 2">
              <a:extLst>
                <a:ext uri="{FF2B5EF4-FFF2-40B4-BE49-F238E27FC236}">
                  <a16:creationId xmlns:a16="http://schemas.microsoft.com/office/drawing/2014/main" id="{FAD0504A-848E-4FD9-8DC3-599263E06B50}"/>
                </a:ext>
              </a:extLst>
            </p:cNvPr>
            <p:cNvCxnSpPr/>
            <p:nvPr userDrawn="1"/>
          </p:nvCxnSpPr>
          <p:spPr bwMode="auto">
            <a:xfrm>
              <a:off x="627063"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4" name="Gerade Verbindung 35">
              <a:extLst>
                <a:ext uri="{FF2B5EF4-FFF2-40B4-BE49-F238E27FC236}">
                  <a16:creationId xmlns:a16="http://schemas.microsoft.com/office/drawing/2014/main" id="{89D92CCC-FA2D-4E47-9C5C-959BE4F9F3AE}"/>
                </a:ext>
              </a:extLst>
            </p:cNvPr>
            <p:cNvCxnSpPr/>
            <p:nvPr userDrawn="1"/>
          </p:nvCxnSpPr>
          <p:spPr bwMode="auto">
            <a:xfrm>
              <a:off x="6099175"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5" name="Gerade Verbindung 36">
              <a:extLst>
                <a:ext uri="{FF2B5EF4-FFF2-40B4-BE49-F238E27FC236}">
                  <a16:creationId xmlns:a16="http://schemas.microsoft.com/office/drawing/2014/main" id="{7DCE0238-A93E-49CD-B51B-B29FEE64CF6E}"/>
                </a:ext>
              </a:extLst>
            </p:cNvPr>
            <p:cNvCxnSpPr/>
            <p:nvPr userDrawn="1"/>
          </p:nvCxnSpPr>
          <p:spPr bwMode="auto">
            <a:xfrm>
              <a:off x="62420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6" name="Gerade Verbindung 37">
              <a:extLst>
                <a:ext uri="{FF2B5EF4-FFF2-40B4-BE49-F238E27FC236}">
                  <a16:creationId xmlns:a16="http://schemas.microsoft.com/office/drawing/2014/main" id="{B64AFC2F-8CCB-4085-A7BB-BE3EFF953D56}"/>
                </a:ext>
              </a:extLst>
            </p:cNvPr>
            <p:cNvCxnSpPr/>
            <p:nvPr userDrawn="1"/>
          </p:nvCxnSpPr>
          <p:spPr bwMode="auto">
            <a:xfrm>
              <a:off x="8835479"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7" name="Gerade Verbindung 38">
              <a:extLst>
                <a:ext uri="{FF2B5EF4-FFF2-40B4-BE49-F238E27FC236}">
                  <a16:creationId xmlns:a16="http://schemas.microsoft.com/office/drawing/2014/main" id="{55A539AD-C3D6-4333-B33E-5706034AD763}"/>
                </a:ext>
              </a:extLst>
            </p:cNvPr>
            <p:cNvCxnSpPr/>
            <p:nvPr userDrawn="1"/>
          </p:nvCxnSpPr>
          <p:spPr bwMode="auto">
            <a:xfrm>
              <a:off x="11715750" y="-216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58" name="Gerade Verbindung 39">
              <a:extLst>
                <a:ext uri="{FF2B5EF4-FFF2-40B4-BE49-F238E27FC236}">
                  <a16:creationId xmlns:a16="http://schemas.microsoft.com/office/drawing/2014/main" id="{53F6D19E-71D0-4F34-BA05-3FD6AF91EF3F}"/>
                </a:ext>
              </a:extLst>
            </p:cNvPr>
            <p:cNvCxnSpPr/>
            <p:nvPr userDrawn="1"/>
          </p:nvCxnSpPr>
          <p:spPr bwMode="auto">
            <a:xfrm rot="5400000">
              <a:off x="123228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0" name="Gerade Verbindung 41">
              <a:extLst>
                <a:ext uri="{FF2B5EF4-FFF2-40B4-BE49-F238E27FC236}">
                  <a16:creationId xmlns:a16="http://schemas.microsoft.com/office/drawing/2014/main" id="{62F7CA60-F117-4F66-A8CE-6E48CD3792A7}"/>
                </a:ext>
              </a:extLst>
            </p:cNvPr>
            <p:cNvCxnSpPr/>
            <p:nvPr userDrawn="1"/>
          </p:nvCxnSpPr>
          <p:spPr bwMode="auto">
            <a:xfrm rot="5400000">
              <a:off x="123228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1" name="Gerade Verbindung 42">
              <a:extLst>
                <a:ext uri="{FF2B5EF4-FFF2-40B4-BE49-F238E27FC236}">
                  <a16:creationId xmlns:a16="http://schemas.microsoft.com/office/drawing/2014/main" id="{67033FCD-1A87-4CC2-BC6C-EBF07ED5CF39}"/>
                </a:ext>
              </a:extLst>
            </p:cNvPr>
            <p:cNvCxnSpPr/>
            <p:nvPr userDrawn="1"/>
          </p:nvCxnSpPr>
          <p:spPr bwMode="auto">
            <a:xfrm rot="5400000">
              <a:off x="123228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2" name="Gerade Verbindung 43">
              <a:extLst>
                <a:ext uri="{FF2B5EF4-FFF2-40B4-BE49-F238E27FC236}">
                  <a16:creationId xmlns:a16="http://schemas.microsoft.com/office/drawing/2014/main" id="{1EB32179-D251-4FA2-A3C4-AFF9219DE7DD}"/>
                </a:ext>
              </a:extLst>
            </p:cNvPr>
            <p:cNvCxnSpPr/>
            <p:nvPr userDrawn="1"/>
          </p:nvCxnSpPr>
          <p:spPr bwMode="auto">
            <a:xfrm rot="5400000">
              <a:off x="123228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3" name="Gerade Verbindung 44">
              <a:extLst>
                <a:ext uri="{FF2B5EF4-FFF2-40B4-BE49-F238E27FC236}">
                  <a16:creationId xmlns:a16="http://schemas.microsoft.com/office/drawing/2014/main" id="{B18D9A3D-6B95-466B-AA09-1EAB0180D423}"/>
                </a:ext>
              </a:extLst>
            </p:cNvPr>
            <p:cNvCxnSpPr/>
            <p:nvPr userDrawn="1"/>
          </p:nvCxnSpPr>
          <p:spPr bwMode="auto">
            <a:xfrm rot="5400000">
              <a:off x="123228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4" name="Gerade Verbindung 51">
              <a:extLst>
                <a:ext uri="{FF2B5EF4-FFF2-40B4-BE49-F238E27FC236}">
                  <a16:creationId xmlns:a16="http://schemas.microsoft.com/office/drawing/2014/main" id="{6EBEED84-A578-46A9-8E69-2AC4C62502B1}"/>
                </a:ext>
              </a:extLst>
            </p:cNvPr>
            <p:cNvCxnSpPr/>
            <p:nvPr userDrawn="1"/>
          </p:nvCxnSpPr>
          <p:spPr bwMode="auto">
            <a:xfrm>
              <a:off x="627063"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5" name="Gerade Verbindung 52">
              <a:extLst>
                <a:ext uri="{FF2B5EF4-FFF2-40B4-BE49-F238E27FC236}">
                  <a16:creationId xmlns:a16="http://schemas.microsoft.com/office/drawing/2014/main" id="{273E2258-50C4-4D68-A0D8-C2D4712B864A}"/>
                </a:ext>
              </a:extLst>
            </p:cNvPr>
            <p:cNvCxnSpPr/>
            <p:nvPr userDrawn="1"/>
          </p:nvCxnSpPr>
          <p:spPr bwMode="auto">
            <a:xfrm>
              <a:off x="6099175"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6" name="Gerade Verbindung 53">
              <a:extLst>
                <a:ext uri="{FF2B5EF4-FFF2-40B4-BE49-F238E27FC236}">
                  <a16:creationId xmlns:a16="http://schemas.microsoft.com/office/drawing/2014/main" id="{DCFC7340-D0F2-4980-8EF8-6ACFC6A39635}"/>
                </a:ext>
              </a:extLst>
            </p:cNvPr>
            <p:cNvCxnSpPr/>
            <p:nvPr userDrawn="1"/>
          </p:nvCxnSpPr>
          <p:spPr bwMode="auto">
            <a:xfrm>
              <a:off x="62420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7" name="Gerade Verbindung 54">
              <a:extLst>
                <a:ext uri="{FF2B5EF4-FFF2-40B4-BE49-F238E27FC236}">
                  <a16:creationId xmlns:a16="http://schemas.microsoft.com/office/drawing/2014/main" id="{50057283-6253-45B0-96D6-10D25847D23B}"/>
                </a:ext>
              </a:extLst>
            </p:cNvPr>
            <p:cNvCxnSpPr/>
            <p:nvPr userDrawn="1"/>
          </p:nvCxnSpPr>
          <p:spPr bwMode="auto">
            <a:xfrm>
              <a:off x="8835479"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8" name="Gerade Verbindung 55">
              <a:extLst>
                <a:ext uri="{FF2B5EF4-FFF2-40B4-BE49-F238E27FC236}">
                  <a16:creationId xmlns:a16="http://schemas.microsoft.com/office/drawing/2014/main" id="{141D64C2-BF2D-438A-BCB4-24F988DCEDFC}"/>
                </a:ext>
              </a:extLst>
            </p:cNvPr>
            <p:cNvCxnSpPr/>
            <p:nvPr userDrawn="1"/>
          </p:nvCxnSpPr>
          <p:spPr bwMode="auto">
            <a:xfrm>
              <a:off x="11715750" y="68940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69" name="Gerade Verbindung 56">
              <a:extLst>
                <a:ext uri="{FF2B5EF4-FFF2-40B4-BE49-F238E27FC236}">
                  <a16:creationId xmlns:a16="http://schemas.microsoft.com/office/drawing/2014/main" id="{BED49CFA-20F7-4587-B40B-BA2F6C227E4C}"/>
                </a:ext>
              </a:extLst>
            </p:cNvPr>
            <p:cNvCxnSpPr/>
            <p:nvPr userDrawn="1"/>
          </p:nvCxnSpPr>
          <p:spPr bwMode="auto">
            <a:xfrm rot="5400000">
              <a:off x="-126000" y="242887"/>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rade Verbindung 58">
              <a:extLst>
                <a:ext uri="{FF2B5EF4-FFF2-40B4-BE49-F238E27FC236}">
                  <a16:creationId xmlns:a16="http://schemas.microsoft.com/office/drawing/2014/main" id="{42A9842D-8580-4571-B096-5B1B98F553AE}"/>
                </a:ext>
              </a:extLst>
            </p:cNvPr>
            <p:cNvCxnSpPr/>
            <p:nvPr userDrawn="1"/>
          </p:nvCxnSpPr>
          <p:spPr bwMode="auto">
            <a:xfrm rot="5400000">
              <a:off x="-126000" y="1324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2" name="Gerade Verbindung 59">
              <a:extLst>
                <a:ext uri="{FF2B5EF4-FFF2-40B4-BE49-F238E27FC236}">
                  <a16:creationId xmlns:a16="http://schemas.microsoft.com/office/drawing/2014/main" id="{8C88B692-E6DC-4158-8946-C693A859434F}"/>
                </a:ext>
              </a:extLst>
            </p:cNvPr>
            <p:cNvCxnSpPr/>
            <p:nvPr userDrawn="1"/>
          </p:nvCxnSpPr>
          <p:spPr bwMode="auto">
            <a:xfrm rot="5400000">
              <a:off x="-126000" y="3628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3" name="Gerade Verbindung 60">
              <a:extLst>
                <a:ext uri="{FF2B5EF4-FFF2-40B4-BE49-F238E27FC236}">
                  <a16:creationId xmlns:a16="http://schemas.microsoft.com/office/drawing/2014/main" id="{BE4CDF0A-BC70-4E0C-8298-1C9131963A85}"/>
                </a:ext>
              </a:extLst>
            </p:cNvPr>
            <p:cNvCxnSpPr/>
            <p:nvPr userDrawn="1"/>
          </p:nvCxnSpPr>
          <p:spPr bwMode="auto">
            <a:xfrm rot="5400000">
              <a:off x="-126000" y="3772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4" name="Gerade Verbindung 61">
              <a:extLst>
                <a:ext uri="{FF2B5EF4-FFF2-40B4-BE49-F238E27FC236}">
                  <a16:creationId xmlns:a16="http://schemas.microsoft.com/office/drawing/2014/main" id="{91D2F460-52CF-4467-8486-F80ADF41F28D}"/>
                </a:ext>
              </a:extLst>
            </p:cNvPr>
            <p:cNvCxnSpPr/>
            <p:nvPr userDrawn="1"/>
          </p:nvCxnSpPr>
          <p:spPr bwMode="auto">
            <a:xfrm rot="5400000">
              <a:off x="-126000" y="6076800"/>
              <a:ext cx="0" cy="180000"/>
            </a:xfrm>
            <a:prstGeom prst="line">
              <a:avLst/>
            </a:prstGeom>
            <a:solidFill>
              <a:schemeClr val="tx2"/>
            </a:solidFill>
            <a:ln w="3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Tree>
    <p:extLst>
      <p:ext uri="{BB962C8B-B14F-4D97-AF65-F5344CB8AC3E}">
        <p14:creationId xmlns:p14="http://schemas.microsoft.com/office/powerpoint/2010/main" val="917164868"/>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Free Content" userDrawn="1">
  <p:cSld name="F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1D357-684A-4BD3-B6FD-5478CE31ACB2}"/>
              </a:ext>
            </a:extLst>
          </p:cNvPr>
          <p:cNvSpPr>
            <a:spLocks noGrp="1"/>
          </p:cNvSpPr>
          <p:nvPr>
            <p:ph type="title" hasCustomPrompt="1"/>
          </p:nvPr>
        </p:nvSpPr>
        <p:spPr/>
        <p:txBody>
          <a:bodyPr/>
          <a:lstStyle>
            <a:lvl1pPr>
              <a:defRPr/>
            </a:lvl1pPr>
          </a:lstStyle>
          <a:p>
            <a:r>
              <a:rPr lang="en-US" noProof="0" dirty="0"/>
              <a:t>EPCOR Plant Automation &amp; Digitalization project – RFQ</a:t>
            </a:r>
            <a:br>
              <a:rPr lang="en-US" noProof="0" dirty="0"/>
            </a:br>
            <a:endParaRPr lang="en-US" dirty="0"/>
          </a:p>
        </p:txBody>
      </p:sp>
    </p:spTree>
    <p:extLst>
      <p:ext uri="{BB962C8B-B14F-4D97-AF65-F5344CB8AC3E}">
        <p14:creationId xmlns:p14="http://schemas.microsoft.com/office/powerpoint/2010/main" val="199762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tags" Target="../tags/tag21.xml"/><Relationship Id="rId3" Type="http://schemas.openxmlformats.org/officeDocument/2006/relationships/slideLayout" Target="../slideLayouts/slideLayout3.xml"/><Relationship Id="rId21" Type="http://schemas.openxmlformats.org/officeDocument/2006/relationships/tags" Target="../tags/tag16.xml"/><Relationship Id="rId34" Type="http://schemas.openxmlformats.org/officeDocument/2006/relationships/tags" Target="../tags/tag29.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tags" Target="../tags/tag20.xml"/><Relationship Id="rId33" Type="http://schemas.openxmlformats.org/officeDocument/2006/relationships/tags" Target="../tags/tag28.xml"/><Relationship Id="rId38"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29" Type="http://schemas.openxmlformats.org/officeDocument/2006/relationships/tags" Target="../tags/tag2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24" Type="http://schemas.openxmlformats.org/officeDocument/2006/relationships/tags" Target="../tags/tag19.xml"/><Relationship Id="rId32" Type="http://schemas.openxmlformats.org/officeDocument/2006/relationships/tags" Target="../tags/tag27.xml"/><Relationship Id="rId37" Type="http://schemas.openxmlformats.org/officeDocument/2006/relationships/tags" Target="../tags/tag32.xml"/><Relationship Id="rId5" Type="http://schemas.openxmlformats.org/officeDocument/2006/relationships/slideLayout" Target="../slideLayouts/slideLayout5.xml"/><Relationship Id="rId15" Type="http://schemas.openxmlformats.org/officeDocument/2006/relationships/tags" Target="../tags/tag10.xml"/><Relationship Id="rId23" Type="http://schemas.openxmlformats.org/officeDocument/2006/relationships/tags" Target="../tags/tag18.xml"/><Relationship Id="rId28" Type="http://schemas.openxmlformats.org/officeDocument/2006/relationships/tags" Target="../tags/tag23.xml"/><Relationship Id="rId36" Type="http://schemas.openxmlformats.org/officeDocument/2006/relationships/tags" Target="../tags/tag31.xml"/><Relationship Id="rId10" Type="http://schemas.openxmlformats.org/officeDocument/2006/relationships/tags" Target="../tags/tag5.xml"/><Relationship Id="rId19" Type="http://schemas.openxmlformats.org/officeDocument/2006/relationships/tags" Target="../tags/tag14.xml"/><Relationship Id="rId31" Type="http://schemas.openxmlformats.org/officeDocument/2006/relationships/tags" Target="../tags/tag26.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 Id="rId27" Type="http://schemas.openxmlformats.org/officeDocument/2006/relationships/tags" Target="../tags/tag22.xml"/><Relationship Id="rId30" Type="http://schemas.openxmlformats.org/officeDocument/2006/relationships/tags" Target="../tags/tag25.xml"/><Relationship Id="rId35" Type="http://schemas.openxmlformats.org/officeDocument/2006/relationships/tags" Target="../tags/tag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5" name="cdtRectangle 12 Id15"/>
          <p:cNvSpPr>
            <a:spLocks noChangeArrowheads="1"/>
          </p:cNvSpPr>
          <p:nvPr>
            <p:custDataLst>
              <p:tags r:id="rId7"/>
            </p:custDataLst>
          </p:nvPr>
        </p:nvSpPr>
        <p:spPr bwMode="gray">
          <a:xfrm>
            <a:off x="0" y="0"/>
            <a:ext cx="12198350" cy="1268413"/>
          </a:xfrm>
          <a:prstGeom prst="rect">
            <a:avLst/>
          </a:prstGeom>
          <a:solidFill>
            <a:schemeClr val="lt2"/>
          </a:solidFill>
          <a:ln w="9525">
            <a:noFill/>
            <a:miter lim="800000"/>
            <a:headEnd/>
            <a:tailEnd/>
          </a:ln>
          <a:effectLst/>
        </p:spPr>
        <p:txBody>
          <a:bodyPr wrap="none" anchor="ctr">
            <a:noAutofit/>
          </a:bodyPr>
          <a:lstStyle/>
          <a:p>
            <a:endParaRPr lang="en-US" dirty="0"/>
          </a:p>
        </p:txBody>
      </p:sp>
      <p:sp>
        <p:nvSpPr>
          <p:cNvPr id="3078" name="cdtRectangle 115 Id3078"/>
          <p:cNvSpPr>
            <a:spLocks noGrp="1" noChangeArrowheads="1"/>
          </p:cNvSpPr>
          <p:nvPr>
            <p:ph type="title"/>
            <p:custDataLst>
              <p:tags r:id="rId8"/>
            </p:custDataLst>
          </p:nvPr>
        </p:nvSpPr>
        <p:spPr bwMode="auto">
          <a:xfrm>
            <a:off x="0" y="0"/>
            <a:ext cx="12198350" cy="1268413"/>
          </a:xfrm>
          <a:prstGeom prst="rect">
            <a:avLst/>
          </a:prstGeom>
          <a:noFill/>
          <a:ln w="9525">
            <a:noFill/>
            <a:miter lim="800000"/>
            <a:headEnd/>
            <a:tailEnd/>
          </a:ln>
        </p:spPr>
        <p:txBody>
          <a:bodyPr vert="horz" wrap="square" lIns="626400" tIns="396000" rIns="2124000" bIns="234000" numCol="1" anchor="b" anchorCtr="0" compatLnSpc="1">
            <a:prstTxWarp prst="textNoShape">
              <a:avLst/>
            </a:prstTxWarp>
          </a:bodyPr>
          <a:lstStyle/>
          <a:p>
            <a:pPr lvl="0"/>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
        <p:nvSpPr>
          <p:cNvPr id="3079" name="cdtRectangle 116 Id3079"/>
          <p:cNvSpPr>
            <a:spLocks noGrp="1" noChangeArrowheads="1"/>
          </p:cNvSpPr>
          <p:nvPr>
            <p:ph type="body" idx="1"/>
            <p:custDataLst>
              <p:tags r:id="rId9"/>
            </p:custDataLst>
          </p:nvPr>
        </p:nvSpPr>
        <p:spPr bwMode="auto">
          <a:xfrm>
            <a:off x="627063" y="1412875"/>
            <a:ext cx="8208962" cy="47529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pic>
        <p:nvPicPr>
          <p:cNvPr id="10" name="cdtPicture 10 Id10" descr="SIE_Logo_Layer_Petrol_RGB_A3_76mm.wmf"/>
          <p:cNvPicPr>
            <a:picLocks noChangeAspect="1"/>
          </p:cNvPicPr>
          <p:nvPr>
            <p:custDataLst>
              <p:tags r:id="rId10"/>
            </p:custDataLst>
          </p:nvPr>
        </p:nvPicPr>
        <p:blipFill>
          <a:blip r:embed="rId38" cstate="email">
            <a:extLst>
              <a:ext uri="{28A0092B-C50C-407E-A947-70E740481C1C}">
                <a14:useLocalDpi xmlns:a14="http://schemas.microsoft.com/office/drawing/2010/main"/>
              </a:ext>
            </a:extLst>
          </a:blip>
          <a:stretch>
            <a:fillRect/>
          </a:stretch>
        </p:blipFill>
        <p:spPr>
          <a:xfrm>
            <a:off x="10275750" y="0"/>
            <a:ext cx="1440000" cy="806529"/>
          </a:xfrm>
          <a:prstGeom prst="rect">
            <a:avLst/>
          </a:prstGeom>
        </p:spPr>
      </p:pic>
      <p:sp>
        <p:nvSpPr>
          <p:cNvPr id="16" name="cdtText Box 133 Id16"/>
          <p:cNvSpPr txBox="1">
            <a:spLocks noChangeArrowheads="1"/>
          </p:cNvSpPr>
          <p:nvPr>
            <p:custDataLst>
              <p:tags r:id="rId11"/>
            </p:custDataLst>
          </p:nvPr>
        </p:nvSpPr>
        <p:spPr bwMode="auto">
          <a:xfrm>
            <a:off x="4221300" y="6410409"/>
            <a:ext cx="6099175" cy="431800"/>
          </a:xfrm>
          <a:prstGeom prst="rect">
            <a:avLst/>
          </a:prstGeom>
          <a:noFill/>
          <a:ln w="9525">
            <a:noFill/>
            <a:miter lim="800000"/>
            <a:headEnd/>
            <a:tailEnd/>
          </a:ln>
          <a:effectLst/>
        </p:spPr>
        <p:txBody>
          <a:bodyPr lIns="626400" tIns="144000" rIns="3211200" bIns="0" anchor="ctr"/>
          <a:lstStyle/>
          <a:p>
            <a:r>
              <a:rPr lang="de-DE" sz="1000" b="1" dirty="0">
                <a:solidFill>
                  <a:srgbClr val="879BAA"/>
                </a:solidFill>
              </a:rPr>
              <a:t>Frei verwendbar © Siemens AG 2020</a:t>
            </a:r>
            <a:endParaRPr lang="en-US" sz="1000" b="1" dirty="0">
              <a:solidFill>
                <a:srgbClr val="879BAA"/>
              </a:solidFill>
            </a:endParaRPr>
          </a:p>
        </p:txBody>
      </p:sp>
      <p:sp>
        <p:nvSpPr>
          <p:cNvPr id="17" name="cdtTextBox 12 Id17"/>
          <p:cNvSpPr txBox="1"/>
          <p:nvPr>
            <p:custDataLst>
              <p:tags r:id="rId12"/>
            </p:custDataLst>
          </p:nvPr>
        </p:nvSpPr>
        <p:spPr>
          <a:xfrm>
            <a:off x="0" y="6597650"/>
            <a:ext cx="3932230" cy="260350"/>
          </a:xfrm>
          <a:prstGeom prst="rect">
            <a:avLst/>
          </a:prstGeom>
          <a:noFill/>
        </p:spPr>
        <p:txBody>
          <a:bodyPr wrap="square" lIns="1908000" tIns="0" rIns="0" bIns="115200" rtlCol="0">
            <a:noAutofit/>
          </a:bodyPr>
          <a:lstStyle/>
          <a:p>
            <a:pPr>
              <a:lnSpc>
                <a:spcPct val="110000"/>
              </a:lnSpc>
              <a:spcBef>
                <a:spcPts val="0"/>
              </a:spcBef>
            </a:pPr>
            <a:endParaRPr lang="en-US" sz="1000" noProof="0" dirty="0">
              <a:solidFill>
                <a:srgbClr val="000000"/>
              </a:solidFill>
            </a:endParaRPr>
          </a:p>
        </p:txBody>
      </p:sp>
      <p:sp>
        <p:nvSpPr>
          <p:cNvPr id="18" name="cdtTextBox 11 Id18"/>
          <p:cNvSpPr txBox="1"/>
          <p:nvPr>
            <p:custDataLst>
              <p:tags r:id="rId13"/>
            </p:custDataLst>
          </p:nvPr>
        </p:nvSpPr>
        <p:spPr>
          <a:xfrm>
            <a:off x="10433065" y="6613747"/>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a:solidFill>
                  <a:srgbClr val="000000"/>
                </a:solidFill>
              </a:rPr>
              <a:t>Page </a:t>
            </a:r>
            <a:fld id="{FBDD6658-81E7-43FD-98E6-A25E81ACDB91}" type="slidenum">
              <a:rPr lang="en-US" sz="1000" noProof="0" smtClean="0">
                <a:solidFill>
                  <a:srgbClr val="000000"/>
                </a:solidFill>
              </a:rPr>
              <a:t>‹Nr.›</a:t>
            </a:fld>
            <a:endParaRPr lang="en-US" sz="1000" noProof="0" dirty="0">
              <a:solidFill>
                <a:srgbClr val="000000"/>
              </a:solidFill>
            </a:endParaRPr>
          </a:p>
        </p:txBody>
      </p:sp>
      <p:sp>
        <p:nvSpPr>
          <p:cNvPr id="20" name="cdtText Box 101 Id20"/>
          <p:cNvSpPr txBox="1">
            <a:spLocks noChangeArrowheads="1"/>
          </p:cNvSpPr>
          <p:nvPr>
            <p:custDataLst>
              <p:tags r:id="rId14"/>
            </p:custDataLst>
          </p:nvPr>
        </p:nvSpPr>
        <p:spPr bwMode="auto">
          <a:xfrm>
            <a:off x="6099175" y="0"/>
            <a:ext cx="1588" cy="1588"/>
          </a:xfrm>
          <a:prstGeom prst="rect">
            <a:avLst/>
          </a:prstGeom>
          <a:noFill/>
          <a:ln>
            <a:noFill/>
          </a:ln>
          <a:effectLst/>
          <a:extLst>
            <a:ext uri="{909E8E84-426E-40DD-AFC4-6F175D3DCCD1}">
              <a14:hiddenFill xmlns:a14="http://schemas.microsoft.com/office/drawing/2010/main">
                <a:solidFill>
                  <a:srgbClr val="FF9900"/>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0">
            <a:noAutofit/>
          </a:bodyPr>
          <a:lstStyle/>
          <a:p>
            <a:pPr algn="ctr">
              <a:buClrTx/>
              <a:buFontTx/>
              <a:buNone/>
            </a:pPr>
            <a:endParaRPr lang="en-US" sz="1100" b="1" dirty="0">
              <a:solidFill>
                <a:srgbClr val="990000"/>
              </a:solidFill>
            </a:endParaRPr>
          </a:p>
        </p:txBody>
      </p:sp>
      <p:cxnSp>
        <p:nvCxnSpPr>
          <p:cNvPr id="7" name="cdtMasterTags_CL1 Id7"/>
          <p:cNvCxnSpPr/>
          <p:nvPr userDrawn="1">
            <p:custDataLst>
              <p:tags r:id="rId1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9" name="cdtMasterTags_CL2 Id9"/>
          <p:cNvCxnSpPr/>
          <p:nvPr userDrawn="1">
            <p:custDataLst>
              <p:tags r:id="rId1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 name="cdtMasterTags_CL3 Id11"/>
          <p:cNvCxnSpPr/>
          <p:nvPr userDrawn="1">
            <p:custDataLst>
              <p:tags r:id="rId1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 name="cdtMasterTags_CL4 Id12"/>
          <p:cNvCxnSpPr/>
          <p:nvPr userDrawn="1">
            <p:custDataLst>
              <p:tags r:id="rId1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3" name="cdtMasterTags_CL5 Id13"/>
          <p:cNvCxnSpPr/>
          <p:nvPr userDrawn="1">
            <p:custDataLst>
              <p:tags r:id="rId1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4" name="cdtMasterTags_CL6 Id14"/>
          <p:cNvCxnSpPr/>
          <p:nvPr userDrawn="1">
            <p:custDataLst>
              <p:tags r:id="rId2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0" name="cdtMasterTags_CL7 Id3080"/>
          <p:cNvCxnSpPr/>
          <p:nvPr userDrawn="1">
            <p:custDataLst>
              <p:tags r:id="rId2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1" name="cdtMasterTags_CL8 Id3081"/>
          <p:cNvCxnSpPr/>
          <p:nvPr userDrawn="1">
            <p:custDataLst>
              <p:tags r:id="rId2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2" name="cdtMasterTags_CL9 Id3082"/>
          <p:cNvCxnSpPr/>
          <p:nvPr userDrawn="1">
            <p:custDataLst>
              <p:tags r:id="rId2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3" name="cdtMasterTags_CL10 Id3083"/>
          <p:cNvCxnSpPr/>
          <p:nvPr userDrawn="1">
            <p:custDataLst>
              <p:tags r:id="rId2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4" name="cdtMasterTags_CL11 Id3084"/>
          <p:cNvCxnSpPr/>
          <p:nvPr userDrawn="1">
            <p:custDataLst>
              <p:tags r:id="rId2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5" name="cdtMasterTags_CL12 Id3085"/>
          <p:cNvCxnSpPr/>
          <p:nvPr userDrawn="1">
            <p:custDataLst>
              <p:tags r:id="rId2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6" name="cdtMasterTags_CL13 Id3086"/>
          <p:cNvCxnSpPr/>
          <p:nvPr userDrawn="1">
            <p:custDataLst>
              <p:tags r:id="rId2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7" name="cdtMasterTags_CL14 Id3087"/>
          <p:cNvCxnSpPr/>
          <p:nvPr userDrawn="1">
            <p:custDataLst>
              <p:tags r:id="rId28"/>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8" name="cdtMasterTags_CL15 Id3088"/>
          <p:cNvCxnSpPr/>
          <p:nvPr userDrawn="1">
            <p:custDataLst>
              <p:tags r:id="rId29"/>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89" name="cdtMasterTags_CL16 Id3089"/>
          <p:cNvCxnSpPr/>
          <p:nvPr userDrawn="1">
            <p:custDataLst>
              <p:tags r:id="rId30"/>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0" name="cdtMasterTags_CL17 Id3090"/>
          <p:cNvCxnSpPr/>
          <p:nvPr userDrawn="1">
            <p:custDataLst>
              <p:tags r:id="rId31"/>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1" name="cdtMasterTags_CL18 Id3091"/>
          <p:cNvCxnSpPr/>
          <p:nvPr userDrawn="1">
            <p:custDataLst>
              <p:tags r:id="rId32"/>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2" name="cdtMasterTags_CL19 Id3092"/>
          <p:cNvCxnSpPr/>
          <p:nvPr userDrawn="1">
            <p:custDataLst>
              <p:tags r:id="rId33"/>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3" name="cdtMasterTags_CL20 Id3093"/>
          <p:cNvCxnSpPr/>
          <p:nvPr userDrawn="1">
            <p:custDataLst>
              <p:tags r:id="rId34"/>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4" name="cdtMasterTags_CL21 Id3094"/>
          <p:cNvCxnSpPr/>
          <p:nvPr userDrawn="1">
            <p:custDataLst>
              <p:tags r:id="rId35"/>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5" name="cdtMasterTags_CL22 Id3095"/>
          <p:cNvCxnSpPr/>
          <p:nvPr userDrawn="1">
            <p:custDataLst>
              <p:tags r:id="rId36"/>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096" name="cdtMasterTags"/>
          <p:cNvCxnSpPr/>
          <p:nvPr userDrawn="1">
            <p:custDataLst>
              <p:tags r:id="rId37"/>
            </p:custDataLst>
          </p:nvPr>
        </p:nvCxnSpPr>
        <p:spPr bwMode="auto">
          <a:xfrm>
            <a:off x="0" y="0"/>
            <a:ext cx="0" cy="0"/>
          </a:xfrm>
          <a:prstGeom prst="line">
            <a:avLst/>
          </a:prstGeom>
          <a:solidFill>
            <a:schemeClr val="tx2"/>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Tree>
    <p:extLst>
      <p:ext uri="{BB962C8B-B14F-4D97-AF65-F5344CB8AC3E}">
        <p14:creationId xmlns:p14="http://schemas.microsoft.com/office/powerpoint/2010/main" val="4288509809"/>
      </p:ext>
    </p:extLst>
  </p:cSld>
  <p:clrMap bg1="lt1" tx1="dk1" bg2="lt2" tx2="dk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Lst>
  <p:hf sldNum="0" hdr="0" ftr="0" dt="0"/>
  <p:txStyles>
    <p:titleStyle>
      <a:lvl1pPr algn="l" rtl="0" fontAlgn="base">
        <a:spcBef>
          <a:spcPct val="0"/>
        </a:spcBef>
        <a:spcAft>
          <a:spcPct val="0"/>
        </a:spcAft>
        <a:defRPr sz="2000" b="1">
          <a:solidFill>
            <a:schemeClr val="dk2"/>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p:titleStyle>
    <p:bodyStyle>
      <a:lvl1pPr marL="0" indent="0" algn="l" rtl="0" fontAlgn="base">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fontAlgn="base">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2.xml"/><Relationship Id="rId7" Type="http://schemas.openxmlformats.org/officeDocument/2006/relationships/image" Target="../media/image18.jpeg"/><Relationship Id="rId12" Type="http://schemas.openxmlformats.org/officeDocument/2006/relationships/image" Target="../media/image23.svg"/><Relationship Id="rId2" Type="http://schemas.openxmlformats.org/officeDocument/2006/relationships/tags" Target="../tags/tag49.xml"/><Relationship Id="rId1" Type="http://schemas.openxmlformats.org/officeDocument/2006/relationships/vmlDrawing" Target="../drawings/vmlDrawing12.vml"/><Relationship Id="rId6" Type="http://schemas.openxmlformats.org/officeDocument/2006/relationships/image" Target="../media/image2.emf"/><Relationship Id="rId11" Type="http://schemas.openxmlformats.org/officeDocument/2006/relationships/image" Target="../media/image22.png"/><Relationship Id="rId5" Type="http://schemas.openxmlformats.org/officeDocument/2006/relationships/oleObject" Target="../embeddings/oleObject12.bin"/><Relationship Id="rId10" Type="http://schemas.openxmlformats.org/officeDocument/2006/relationships/image" Target="../media/image21.svg"/><Relationship Id="rId4" Type="http://schemas.openxmlformats.org/officeDocument/2006/relationships/notesSlide" Target="../notesSlides/notesSlide11.xml"/><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1.xml"/><Relationship Id="rId7" Type="http://schemas.openxmlformats.org/officeDocument/2006/relationships/oleObject" Target="../embeddings/oleObject9.bin"/><Relationship Id="rId2" Type="http://schemas.openxmlformats.org/officeDocument/2006/relationships/tags" Target="../tags/tag50.xml"/><Relationship Id="rId1" Type="http://schemas.openxmlformats.org/officeDocument/2006/relationships/vmlDrawing" Target="../drawings/vmlDrawing13.vml"/><Relationship Id="rId6" Type="http://schemas.openxmlformats.org/officeDocument/2006/relationships/notesSlide" Target="../notesSlides/notesSlide12.xml"/><Relationship Id="rId5" Type="http://schemas.openxmlformats.org/officeDocument/2006/relationships/slideLayout" Target="../slideLayouts/slideLayout2.xml"/><Relationship Id="rId4" Type="http://schemas.openxmlformats.org/officeDocument/2006/relationships/tags" Target="../tags/tag52.xml"/></Relationships>
</file>

<file path=ppt/slides/_rels/slide13.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53.xml"/><Relationship Id="rId1" Type="http://schemas.openxmlformats.org/officeDocument/2006/relationships/vmlDrawing" Target="../drawings/vmlDrawing14.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tags" Target="../tags/tag37.xml"/><Relationship Id="rId7" Type="http://schemas.openxmlformats.org/officeDocument/2006/relationships/image" Target="../media/image9.emf"/><Relationship Id="rId2"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2.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9.xml"/><Relationship Id="rId7" Type="http://schemas.openxmlformats.org/officeDocument/2006/relationships/notesSlide" Target="../notesSlides/notesSlide4.xml"/><Relationship Id="rId2" Type="http://schemas.openxmlformats.org/officeDocument/2006/relationships/tags" Target="../tags/tag38.xml"/><Relationship Id="rId1" Type="http://schemas.openxmlformats.org/officeDocument/2006/relationships/vmlDrawing" Target="../drawings/vmlDrawing5.vml"/><Relationship Id="rId6" Type="http://schemas.openxmlformats.org/officeDocument/2006/relationships/slideLayout" Target="../slideLayouts/slideLayout3.xml"/><Relationship Id="rId5" Type="http://schemas.openxmlformats.org/officeDocument/2006/relationships/tags" Target="../tags/tag41.xml"/><Relationship Id="rId10" Type="http://schemas.openxmlformats.org/officeDocument/2006/relationships/image" Target="../media/image12.emf"/><Relationship Id="rId4" Type="http://schemas.openxmlformats.org/officeDocument/2006/relationships/tags" Target="../tags/tag40.xml"/><Relationship Id="rId9"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2.xml"/><Relationship Id="rId7" Type="http://schemas.openxmlformats.org/officeDocument/2006/relationships/image" Target="../media/image14.png"/><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9.emf"/><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6.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46.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47.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BE22D13-11E3-41A3-9193-D022C75872B4}"/>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64906" name="think-cell Folie" r:id="rId5" imgW="306" imgH="306" progId="TCLayout.ActiveDocument.1">
                  <p:embed/>
                </p:oleObj>
              </mc:Choice>
              <mc:Fallback>
                <p:oleObj name="think-cell Folie" r:id="rId5" imgW="306" imgH="306" progId="TCLayout.ActiveDocument.1">
                  <p:embed/>
                  <p:pic>
                    <p:nvPicPr>
                      <p:cNvPr id="6" name="Objekt 5" hidden="1">
                        <a:extLst>
                          <a:ext uri="{FF2B5EF4-FFF2-40B4-BE49-F238E27FC236}">
                            <a16:creationId xmlns:a16="http://schemas.microsoft.com/office/drawing/2014/main" id="{1BE22D13-11E3-41A3-9193-D022C75872B4}"/>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02E0C58-238D-44EC-9E4A-27EFD457CFC5}"/>
              </a:ext>
            </a:extLst>
          </p:cNvPr>
          <p:cNvSpPr>
            <a:spLocks noGrp="1"/>
          </p:cNvSpPr>
          <p:nvPr>
            <p:ph type="title"/>
          </p:nvPr>
        </p:nvSpPr>
        <p:spPr>
          <a:xfrm>
            <a:off x="414339" y="1414464"/>
            <a:ext cx="11376025" cy="2184971"/>
          </a:xfrm>
        </p:spPr>
        <p:txBody>
          <a:bodyPr vert="horz"/>
          <a:lstStyle/>
          <a:p>
            <a:r>
              <a:rPr lang="en-US" b="0" dirty="0">
                <a:sym typeface="Wingdings" panose="05000000000000000000" pitchFamily="2" charset="2"/>
              </a:rPr>
              <a:t>Digital Twin</a:t>
            </a:r>
            <a:br>
              <a:rPr lang="en-US" dirty="0">
                <a:sym typeface="Wingdings" panose="05000000000000000000" pitchFamily="2" charset="2"/>
              </a:rPr>
            </a:br>
            <a:r>
              <a:rPr lang="en-US" sz="3600" dirty="0">
                <a:sym typeface="Wingdings" panose="05000000000000000000" pitchFamily="2" charset="2"/>
              </a:rPr>
              <a:t>Digital Solutions for the Water Industry</a:t>
            </a:r>
            <a:endParaRPr lang="en-US" dirty="0"/>
          </a:p>
        </p:txBody>
      </p:sp>
      <p:sp>
        <p:nvSpPr>
          <p:cNvPr id="14" name="Untertitel 13">
            <a:extLst>
              <a:ext uri="{FF2B5EF4-FFF2-40B4-BE49-F238E27FC236}">
                <a16:creationId xmlns:a16="http://schemas.microsoft.com/office/drawing/2014/main" id="{F51E6C89-2703-4C78-B134-DCB1E1DCF53E}"/>
              </a:ext>
            </a:extLst>
          </p:cNvPr>
          <p:cNvSpPr>
            <a:spLocks noGrp="1"/>
          </p:cNvSpPr>
          <p:nvPr>
            <p:ph type="subTitle" idx="1"/>
          </p:nvPr>
        </p:nvSpPr>
        <p:spPr>
          <a:xfrm>
            <a:off x="411919" y="4380402"/>
            <a:ext cx="9292838" cy="1930398"/>
          </a:xfrm>
        </p:spPr>
        <p:txBody>
          <a:bodyPr/>
          <a:lstStyle/>
          <a:p>
            <a:r>
              <a:rPr lang="en-US" dirty="0"/>
              <a:t>September 2021</a:t>
            </a:r>
          </a:p>
        </p:txBody>
      </p:sp>
      <p:sp>
        <p:nvSpPr>
          <p:cNvPr id="4" name="Fußzeilenplatzhalter 3">
            <a:extLst>
              <a:ext uri="{FF2B5EF4-FFF2-40B4-BE49-F238E27FC236}">
                <a16:creationId xmlns:a16="http://schemas.microsoft.com/office/drawing/2014/main" id="{B3281373-815A-4429-A8FA-14DE98E871D2}"/>
              </a:ext>
            </a:extLst>
          </p:cNvPr>
          <p:cNvSpPr>
            <a:spLocks noGrp="1"/>
          </p:cNvSpPr>
          <p:nvPr>
            <p:ph type="ftr" sz="quarter" idx="12"/>
          </p:nvPr>
        </p:nvSpPr>
        <p:spPr>
          <a:xfrm>
            <a:off x="414338" y="6310800"/>
            <a:ext cx="9288000" cy="547200"/>
          </a:xfrm>
        </p:spPr>
        <p:txBody>
          <a:bodyPr/>
          <a:lstStyle/>
          <a:p>
            <a:r>
              <a:rPr lang="en-US"/>
              <a:t>Unrestricted | © Siemens 2021 | PlantSight | May 2021</a:t>
            </a:r>
            <a:endParaRPr lang="en-US" dirty="0"/>
          </a:p>
        </p:txBody>
      </p:sp>
    </p:spTree>
    <p:extLst>
      <p:ext uri="{BB962C8B-B14F-4D97-AF65-F5344CB8AC3E}">
        <p14:creationId xmlns:p14="http://schemas.microsoft.com/office/powerpoint/2010/main" val="29255360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a:extLst>
              <a:ext uri="{FF2B5EF4-FFF2-40B4-BE49-F238E27FC236}">
                <a16:creationId xmlns:a16="http://schemas.microsoft.com/office/drawing/2014/main" id="{9B863D82-BE0D-473E-9A39-9DCEF39721C4}"/>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5146" name="think-cell Folie" r:id="rId5" imgW="306" imgH="306" progId="TCLayout.ActiveDocument.1">
                  <p:embed/>
                </p:oleObj>
              </mc:Choice>
              <mc:Fallback>
                <p:oleObj name="think-cell Folie" r:id="rId5" imgW="306" imgH="306" progId="TCLayout.ActiveDocument.1">
                  <p:embed/>
                  <p:pic>
                    <p:nvPicPr>
                      <p:cNvPr id="24" name="Objekt 23" hidden="1">
                        <a:extLst>
                          <a:ext uri="{FF2B5EF4-FFF2-40B4-BE49-F238E27FC236}">
                            <a16:creationId xmlns:a16="http://schemas.microsoft.com/office/drawing/2014/main" id="{9B863D82-BE0D-473E-9A39-9DCEF39721C4}"/>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968D2B9-8E6C-4AD7-82F5-D1DE5F1513E5}"/>
              </a:ext>
            </a:extLst>
          </p:cNvPr>
          <p:cNvSpPr>
            <a:spLocks noGrp="1"/>
          </p:cNvSpPr>
          <p:nvPr>
            <p:ph type="title"/>
          </p:nvPr>
        </p:nvSpPr>
        <p:spPr/>
        <p:txBody>
          <a:bodyPr vert="horz"/>
          <a:lstStyle/>
          <a:p>
            <a:r>
              <a:rPr lang="en-US" dirty="0" err="1"/>
              <a:t>PlantSight</a:t>
            </a:r>
            <a:br>
              <a:rPr lang="en-US" b="0" dirty="0"/>
            </a:br>
            <a:r>
              <a:rPr lang="en-US" b="0" dirty="0"/>
              <a:t>The scalable concept for the Digital Twin</a:t>
            </a:r>
          </a:p>
        </p:txBody>
      </p:sp>
      <p:sp>
        <p:nvSpPr>
          <p:cNvPr id="3" name="Fußzeilenplatzhalter 2">
            <a:extLst>
              <a:ext uri="{FF2B5EF4-FFF2-40B4-BE49-F238E27FC236}">
                <a16:creationId xmlns:a16="http://schemas.microsoft.com/office/drawing/2014/main" id="{CCC56765-613C-4178-82EF-881FBC4A1C87}"/>
              </a:ext>
            </a:extLst>
          </p:cNvPr>
          <p:cNvSpPr>
            <a:spLocks noGrp="1"/>
          </p:cNvSpPr>
          <p:nvPr>
            <p:ph type="ftr" sz="quarter" idx="10"/>
          </p:nvPr>
        </p:nvSpPr>
        <p:spPr/>
        <p:txBody>
          <a:bodyPr/>
          <a:lstStyle/>
          <a:p>
            <a:pPr>
              <a:lnSpc>
                <a:spcPct val="100000"/>
              </a:lnSpc>
            </a:pPr>
            <a:r>
              <a:rPr lang="en-US" dirty="0"/>
              <a:t>Unrestricted | © Siemens 2021 | </a:t>
            </a:r>
            <a:r>
              <a:rPr lang="en-US" dirty="0" err="1"/>
              <a:t>PlantSight</a:t>
            </a:r>
            <a:r>
              <a:rPr lang="en-US" dirty="0"/>
              <a:t> | May 2021</a:t>
            </a:r>
          </a:p>
        </p:txBody>
      </p:sp>
      <p:sp>
        <p:nvSpPr>
          <p:cNvPr id="4" name="Foliennummernplatzhalter 3">
            <a:extLst>
              <a:ext uri="{FF2B5EF4-FFF2-40B4-BE49-F238E27FC236}">
                <a16:creationId xmlns:a16="http://schemas.microsoft.com/office/drawing/2014/main" id="{86696683-8135-44A5-8A6B-C011943A229E}"/>
              </a:ext>
            </a:extLst>
          </p:cNvPr>
          <p:cNvSpPr>
            <a:spLocks noGrp="1"/>
          </p:cNvSpPr>
          <p:nvPr>
            <p:ph type="sldNum" sz="quarter" idx="11"/>
          </p:nvPr>
        </p:nvSpPr>
        <p:spPr/>
        <p:txBody>
          <a:bodyPr/>
          <a:lstStyle/>
          <a:p>
            <a:r>
              <a:rPr lang="en-US" dirty="0"/>
              <a:t>Page </a:t>
            </a:r>
            <a:fld id="{15EBE321-CBB1-4E91-BD14-37C8D44326FB}" type="slidenum">
              <a:rPr lang="en-US" smtClean="0"/>
              <a:pPr/>
              <a:t>10</a:t>
            </a:fld>
            <a:endParaRPr lang="en-US" dirty="0"/>
          </a:p>
        </p:txBody>
      </p:sp>
      <p:sp>
        <p:nvSpPr>
          <p:cNvPr id="6" name="Oval 87">
            <a:extLst>
              <a:ext uri="{FF2B5EF4-FFF2-40B4-BE49-F238E27FC236}">
                <a16:creationId xmlns:a16="http://schemas.microsoft.com/office/drawing/2014/main" id="{839DF2DE-16FD-414F-91BF-1D133E3BAFBF}"/>
              </a:ext>
            </a:extLst>
          </p:cNvPr>
          <p:cNvSpPr>
            <a:spLocks/>
          </p:cNvSpPr>
          <p:nvPr/>
        </p:nvSpPr>
        <p:spPr bwMode="auto">
          <a:xfrm>
            <a:off x="572718" y="2120900"/>
            <a:ext cx="3895434" cy="3895434"/>
          </a:xfrm>
          <a:prstGeom prst="ellipse">
            <a:avLst/>
          </a:prstGeom>
          <a:gradFill>
            <a:gsLst>
              <a:gs pos="0">
                <a:srgbClr val="333353"/>
              </a:gs>
              <a:gs pos="100000">
                <a:srgbClr val="333353">
                  <a:alpha val="1100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200"/>
              </a:spcAft>
            </a:pPr>
            <a:endParaRPr lang="en-US" sz="1400" dirty="0">
              <a:solidFill>
                <a:schemeClr val="accent2"/>
              </a:solidFill>
              <a:latin typeface="Arial Regular"/>
              <a:ea typeface="ＭＳ Ｐゴシック" charset="-128"/>
            </a:endParaRPr>
          </a:p>
        </p:txBody>
      </p:sp>
      <p:sp>
        <p:nvSpPr>
          <p:cNvPr id="7" name="Oval 88">
            <a:extLst>
              <a:ext uri="{FF2B5EF4-FFF2-40B4-BE49-F238E27FC236}">
                <a16:creationId xmlns:a16="http://schemas.microsoft.com/office/drawing/2014/main" id="{A1D75C19-184B-4DE3-9877-EC784C55EBED}"/>
              </a:ext>
            </a:extLst>
          </p:cNvPr>
          <p:cNvSpPr>
            <a:spLocks/>
          </p:cNvSpPr>
          <p:nvPr/>
        </p:nvSpPr>
        <p:spPr bwMode="auto">
          <a:xfrm flipH="1">
            <a:off x="7737256" y="2120901"/>
            <a:ext cx="3895434" cy="3895434"/>
          </a:xfrm>
          <a:prstGeom prst="ellipse">
            <a:avLst/>
          </a:prstGeom>
          <a:gradFill>
            <a:gsLst>
              <a:gs pos="0">
                <a:srgbClr val="333353"/>
              </a:gs>
              <a:gs pos="100000">
                <a:srgbClr val="333353">
                  <a:alpha val="1100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200"/>
              </a:spcAft>
            </a:pPr>
            <a:endParaRPr lang="en-US" sz="1400" dirty="0">
              <a:solidFill>
                <a:schemeClr val="accent2"/>
              </a:solidFill>
              <a:latin typeface="Arial Regular"/>
              <a:ea typeface="ＭＳ Ｐゴシック" charset="-128"/>
            </a:endParaRPr>
          </a:p>
        </p:txBody>
      </p:sp>
      <p:sp>
        <p:nvSpPr>
          <p:cNvPr id="8" name="Rectangle 105">
            <a:extLst>
              <a:ext uri="{FF2B5EF4-FFF2-40B4-BE49-F238E27FC236}">
                <a16:creationId xmlns:a16="http://schemas.microsoft.com/office/drawing/2014/main" id="{CA4E2549-77CE-4A68-8E54-02E520154D68}"/>
              </a:ext>
            </a:extLst>
          </p:cNvPr>
          <p:cNvSpPr>
            <a:spLocks/>
          </p:cNvSpPr>
          <p:nvPr/>
        </p:nvSpPr>
        <p:spPr>
          <a:xfrm>
            <a:off x="2941447" y="3690052"/>
            <a:ext cx="1526704" cy="757130"/>
          </a:xfrm>
          <a:prstGeom prst="rect">
            <a:avLst/>
          </a:prstGeom>
        </p:spPr>
        <p:txBody>
          <a:bodyPr wrap="square"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Bef>
                <a:spcPct val="0"/>
              </a:spcBef>
              <a:defRPr/>
            </a:pPr>
            <a:r>
              <a:rPr lang="en-US" sz="2400" spc="60">
                <a:latin typeface="Arial" panose="020B0604020202020204" pitchFamily="34" charset="0"/>
                <a:ea typeface="Arial" panose="020B0604020202020204" pitchFamily="34" charset="-128"/>
                <a:cs typeface="Arial" panose="020B0604020202020204" pitchFamily="34" charset="0"/>
              </a:rPr>
              <a:t>Virtual</a:t>
            </a:r>
            <a:br>
              <a:rPr lang="en-US" sz="2400" spc="60">
                <a:latin typeface="Arial" panose="020B0604020202020204" pitchFamily="34" charset="0"/>
                <a:ea typeface="Arial" panose="020B0604020202020204" pitchFamily="34" charset="-128"/>
                <a:cs typeface="Arial" panose="020B0604020202020204" pitchFamily="34" charset="0"/>
              </a:rPr>
            </a:br>
            <a:r>
              <a:rPr lang="en-US" sz="2400" spc="60">
                <a:latin typeface="Arial" panose="020B0604020202020204" pitchFamily="34" charset="0"/>
                <a:ea typeface="Arial" panose="020B0604020202020204" pitchFamily="34" charset="-128"/>
                <a:cs typeface="Arial" panose="020B0604020202020204" pitchFamily="34" charset="0"/>
              </a:rPr>
              <a:t>Plant</a:t>
            </a:r>
            <a:endParaRPr lang="en-US" sz="2400" spc="60" dirty="0">
              <a:latin typeface="Arial" panose="020B0604020202020204" pitchFamily="34" charset="0"/>
              <a:ea typeface="Arial" panose="020B0604020202020204" pitchFamily="34" charset="-128"/>
              <a:cs typeface="Arial" panose="020B0604020202020204" pitchFamily="34" charset="0"/>
            </a:endParaRPr>
          </a:p>
        </p:txBody>
      </p:sp>
      <p:sp>
        <p:nvSpPr>
          <p:cNvPr id="9" name="Rectangle 106">
            <a:extLst>
              <a:ext uri="{FF2B5EF4-FFF2-40B4-BE49-F238E27FC236}">
                <a16:creationId xmlns:a16="http://schemas.microsoft.com/office/drawing/2014/main" id="{F538206E-E2F4-4D86-BE04-16872C0F7268}"/>
              </a:ext>
            </a:extLst>
          </p:cNvPr>
          <p:cNvSpPr>
            <a:spLocks/>
          </p:cNvSpPr>
          <p:nvPr/>
        </p:nvSpPr>
        <p:spPr>
          <a:xfrm>
            <a:off x="7737255" y="3690053"/>
            <a:ext cx="1585482" cy="757130"/>
          </a:xfrm>
          <a:prstGeom prst="rect">
            <a:avLst/>
          </a:prstGeom>
        </p:spPr>
        <p:txBody>
          <a:bodyPr wrap="square"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ct val="0"/>
              </a:spcBef>
            </a:pPr>
            <a:r>
              <a:rPr lang="en-US" sz="2400" spc="60">
                <a:latin typeface="Arial" panose="020B0604020202020204" pitchFamily="34" charset="0"/>
                <a:cs typeface="Arial" panose="020B0604020202020204" pitchFamily="34" charset="0"/>
              </a:rPr>
              <a:t>Real</a:t>
            </a:r>
            <a:br>
              <a:rPr lang="en-US" sz="2400" spc="60">
                <a:latin typeface="Arial" panose="020B0604020202020204" pitchFamily="34" charset="0"/>
                <a:cs typeface="Arial" panose="020B0604020202020204" pitchFamily="34" charset="0"/>
              </a:rPr>
            </a:br>
            <a:r>
              <a:rPr lang="en-US" sz="2400" spc="60">
                <a:latin typeface="Arial" panose="020B0604020202020204" pitchFamily="34" charset="0"/>
                <a:cs typeface="Arial" panose="020B0604020202020204" pitchFamily="34" charset="0"/>
              </a:rPr>
              <a:t>Plant</a:t>
            </a:r>
            <a:endParaRPr lang="en-US" sz="2400" spc="60" dirty="0">
              <a:latin typeface="Arial" panose="020B0604020202020204" pitchFamily="34" charset="0"/>
              <a:cs typeface="Arial" panose="020B0604020202020204" pitchFamily="34" charset="0"/>
            </a:endParaRPr>
          </a:p>
        </p:txBody>
      </p:sp>
      <p:sp>
        <p:nvSpPr>
          <p:cNvPr id="18" name="Rechteck: abgerundete Ecken 17">
            <a:extLst>
              <a:ext uri="{FF2B5EF4-FFF2-40B4-BE49-F238E27FC236}">
                <a16:creationId xmlns:a16="http://schemas.microsoft.com/office/drawing/2014/main" id="{B4DDA4E5-3B3E-4C12-9903-015354E63EFC}"/>
              </a:ext>
            </a:extLst>
          </p:cNvPr>
          <p:cNvSpPr>
            <a:spLocks/>
          </p:cNvSpPr>
          <p:nvPr/>
        </p:nvSpPr>
        <p:spPr bwMode="auto">
          <a:xfrm>
            <a:off x="415045" y="1969799"/>
            <a:ext cx="11375318" cy="4197639"/>
          </a:xfrm>
          <a:prstGeom prst="roundRect">
            <a:avLst>
              <a:gd name="adj" fmla="val 50000"/>
            </a:avLst>
          </a:prstGeom>
          <a:noFill/>
          <a:ln w="57150">
            <a:gradFill flip="none" rotWithShape="1">
              <a:gsLst>
                <a:gs pos="0">
                  <a:srgbClr val="00FFB9"/>
                </a:gs>
                <a:gs pos="100000">
                  <a:srgbClr val="00E6DC"/>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9" name="TextBox 3">
            <a:extLst>
              <a:ext uri="{FF2B5EF4-FFF2-40B4-BE49-F238E27FC236}">
                <a16:creationId xmlns:a16="http://schemas.microsoft.com/office/drawing/2014/main" id="{3B6735A8-2A03-4DA6-8889-FA161FA674D0}"/>
              </a:ext>
            </a:extLst>
          </p:cNvPr>
          <p:cNvSpPr txBox="1">
            <a:spLocks/>
          </p:cNvSpPr>
          <p:nvPr/>
        </p:nvSpPr>
        <p:spPr>
          <a:xfrm>
            <a:off x="2063949" y="1436733"/>
            <a:ext cx="912972" cy="287572"/>
          </a:xfrm>
          <a:prstGeom prst="rect">
            <a:avLst/>
          </a:prstGeom>
          <a:noFill/>
        </p:spPr>
        <p:txBody>
          <a:bodyPr wrap="none" lIns="0" tIns="0" rIns="0" bIns="0" rtlCol="0" anchor="t">
            <a:noAutofit/>
          </a:bodyPr>
          <a:lstStyle/>
          <a:p>
            <a:pPr algn="ctr" defTabSz="913486">
              <a:lnSpc>
                <a:spcPct val="110000"/>
              </a:lnSpc>
              <a:defRPr/>
            </a:pPr>
            <a:r>
              <a:rPr lang="en-US" sz="1997" dirty="0">
                <a:solidFill>
                  <a:srgbClr val="FFFFFF"/>
                </a:solidFill>
                <a:latin typeface="Arial"/>
                <a:ea typeface="Arial Unicode MS" panose="020B0604020202020204" pitchFamily="34" charset="-128"/>
                <a:cs typeface="Arial Unicode MS" panose="020B0604020202020204" pitchFamily="34" charset="-128"/>
              </a:rPr>
              <a:t>Digital Enablement</a:t>
            </a:r>
          </a:p>
        </p:txBody>
      </p:sp>
      <p:sp>
        <p:nvSpPr>
          <p:cNvPr id="20" name="TextBox 5">
            <a:extLst>
              <a:ext uri="{FF2B5EF4-FFF2-40B4-BE49-F238E27FC236}">
                <a16:creationId xmlns:a16="http://schemas.microsoft.com/office/drawing/2014/main" id="{BB638544-ED7D-45FB-8A56-E1D5C9322327}"/>
              </a:ext>
            </a:extLst>
          </p:cNvPr>
          <p:cNvSpPr txBox="1">
            <a:spLocks/>
          </p:cNvSpPr>
          <p:nvPr/>
        </p:nvSpPr>
        <p:spPr>
          <a:xfrm>
            <a:off x="9228486" y="1436733"/>
            <a:ext cx="912972" cy="287572"/>
          </a:xfrm>
          <a:prstGeom prst="rect">
            <a:avLst/>
          </a:prstGeom>
          <a:noFill/>
        </p:spPr>
        <p:txBody>
          <a:bodyPr wrap="none" lIns="0" tIns="0" rIns="0" bIns="0" rtlCol="0" anchor="t">
            <a:noAutofit/>
          </a:bodyPr>
          <a:lstStyle/>
          <a:p>
            <a:pPr algn="ctr" defTabSz="913486">
              <a:lnSpc>
                <a:spcPct val="110000"/>
              </a:lnSpc>
              <a:defRPr/>
            </a:pPr>
            <a:r>
              <a:rPr lang="en-US" sz="1997" dirty="0">
                <a:solidFill>
                  <a:srgbClr val="FFFFFF"/>
                </a:solidFill>
                <a:latin typeface="Arial"/>
                <a:ea typeface="Arial Unicode MS" panose="020B0604020202020204" pitchFamily="34" charset="-128"/>
                <a:cs typeface="Arial Unicode MS" panose="020B0604020202020204" pitchFamily="34" charset="-128"/>
              </a:rPr>
              <a:t>Digital Reliability</a:t>
            </a:r>
          </a:p>
        </p:txBody>
      </p:sp>
      <p:grpSp>
        <p:nvGrpSpPr>
          <p:cNvPr id="31" name="Gruppieren 30">
            <a:extLst>
              <a:ext uri="{FF2B5EF4-FFF2-40B4-BE49-F238E27FC236}">
                <a16:creationId xmlns:a16="http://schemas.microsoft.com/office/drawing/2014/main" id="{205AB2AE-D02B-45AC-A97A-F763FCCC33A2}"/>
              </a:ext>
            </a:extLst>
          </p:cNvPr>
          <p:cNvGrpSpPr/>
          <p:nvPr/>
        </p:nvGrpSpPr>
        <p:grpSpPr>
          <a:xfrm>
            <a:off x="572719" y="2333183"/>
            <a:ext cx="2368731" cy="3470871"/>
            <a:chOff x="569543" y="2333182"/>
            <a:chExt cx="2368731" cy="3470871"/>
          </a:xfrm>
        </p:grpSpPr>
        <p:sp>
          <p:nvSpPr>
            <p:cNvPr id="11" name="Arrow: Pentagon 98">
              <a:extLst>
                <a:ext uri="{FF2B5EF4-FFF2-40B4-BE49-F238E27FC236}">
                  <a16:creationId xmlns:a16="http://schemas.microsoft.com/office/drawing/2014/main" id="{B1A19844-4069-4B54-9A2E-882166107520}"/>
                </a:ext>
              </a:extLst>
            </p:cNvPr>
            <p:cNvSpPr>
              <a:spLocks/>
            </p:cNvSpPr>
            <p:nvPr/>
          </p:nvSpPr>
          <p:spPr bwMode="auto">
            <a:xfrm>
              <a:off x="1413171" y="2333182"/>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defRPr/>
              </a:pPr>
              <a:r>
                <a:rPr lang="en-US" sz="1200">
                  <a:latin typeface="Arial" pitchFamily="34" charset="0"/>
                  <a:ea typeface="ＭＳ Ｐゴシック" charset="-128"/>
                </a:rPr>
                <a:t>Design Data </a:t>
              </a:r>
              <a:endParaRPr lang="en-US" sz="1200" dirty="0">
                <a:latin typeface="Arial" pitchFamily="34" charset="0"/>
                <a:ea typeface="ＭＳ Ｐゴシック" charset="-128"/>
              </a:endParaRPr>
            </a:p>
          </p:txBody>
        </p:sp>
        <p:sp>
          <p:nvSpPr>
            <p:cNvPr id="12" name="Arrow: Pentagon 99">
              <a:extLst>
                <a:ext uri="{FF2B5EF4-FFF2-40B4-BE49-F238E27FC236}">
                  <a16:creationId xmlns:a16="http://schemas.microsoft.com/office/drawing/2014/main" id="{4E0F62B2-FB98-4BFF-AFA0-E70047B03C25}"/>
                </a:ext>
              </a:extLst>
            </p:cNvPr>
            <p:cNvSpPr/>
            <p:nvPr/>
          </p:nvSpPr>
          <p:spPr bwMode="auto">
            <a:xfrm>
              <a:off x="948090" y="2887976"/>
              <a:ext cx="1990183"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pPr>
              <a:r>
                <a:rPr lang="en-US" sz="1200">
                  <a:latin typeface="Arial" panose="020B0604020202020204" pitchFamily="34" charset="0"/>
                  <a:cs typeface="Arial" panose="020B0604020202020204" pitchFamily="34" charset="0"/>
                </a:rPr>
                <a:t>Simulation Data </a:t>
              </a:r>
              <a:endParaRPr lang="en-US" sz="1200" dirty="0">
                <a:latin typeface="Arial" panose="020B0604020202020204" pitchFamily="34" charset="0"/>
                <a:cs typeface="Arial" panose="020B0604020202020204" pitchFamily="34" charset="0"/>
              </a:endParaRPr>
            </a:p>
          </p:txBody>
        </p:sp>
        <p:sp>
          <p:nvSpPr>
            <p:cNvPr id="13" name="Arrow: Pentagon 100">
              <a:extLst>
                <a:ext uri="{FF2B5EF4-FFF2-40B4-BE49-F238E27FC236}">
                  <a16:creationId xmlns:a16="http://schemas.microsoft.com/office/drawing/2014/main" id="{9412C594-E2E3-409D-AD17-AF8962F90CBD}"/>
                </a:ext>
              </a:extLst>
            </p:cNvPr>
            <p:cNvSpPr/>
            <p:nvPr/>
          </p:nvSpPr>
          <p:spPr bwMode="auto">
            <a:xfrm>
              <a:off x="569544" y="3445902"/>
              <a:ext cx="2368730"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defRPr/>
              </a:pPr>
              <a:r>
                <a:rPr lang="en-US" sz="1200">
                  <a:latin typeface="Arial" pitchFamily="34" charset="0"/>
                  <a:ea typeface="ＭＳ Ｐゴシック" charset="-128"/>
                </a:rPr>
                <a:t>1D/2D/3D Data </a:t>
              </a:r>
              <a:endParaRPr lang="en-US" sz="1200" dirty="0">
                <a:latin typeface="Arial" pitchFamily="34" charset="0"/>
                <a:ea typeface="ＭＳ Ｐゴシック" charset="-128"/>
              </a:endParaRPr>
            </a:p>
          </p:txBody>
        </p:sp>
        <p:sp>
          <p:nvSpPr>
            <p:cNvPr id="27" name="Arrow: Pentagon 98">
              <a:extLst>
                <a:ext uri="{FF2B5EF4-FFF2-40B4-BE49-F238E27FC236}">
                  <a16:creationId xmlns:a16="http://schemas.microsoft.com/office/drawing/2014/main" id="{4F0908BD-58DC-4B46-B4E4-2593FA5256AD}"/>
                </a:ext>
              </a:extLst>
            </p:cNvPr>
            <p:cNvSpPr>
              <a:spLocks/>
            </p:cNvSpPr>
            <p:nvPr/>
          </p:nvSpPr>
          <p:spPr bwMode="auto">
            <a:xfrm>
              <a:off x="569543" y="4238182"/>
              <a:ext cx="2368730"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defRPr/>
              </a:pPr>
              <a:r>
                <a:rPr lang="en-US" sz="1200">
                  <a:latin typeface="Arial" pitchFamily="34" charset="0"/>
                  <a:ea typeface="ＭＳ Ｐゴシック" charset="-128"/>
                </a:rPr>
                <a:t>Process Model Data </a:t>
              </a:r>
              <a:endParaRPr lang="en-US" sz="1200" dirty="0">
                <a:latin typeface="Arial" pitchFamily="34" charset="0"/>
                <a:ea typeface="ＭＳ Ｐゴシック" charset="-128"/>
              </a:endParaRPr>
            </a:p>
          </p:txBody>
        </p:sp>
        <p:sp>
          <p:nvSpPr>
            <p:cNvPr id="28" name="Arrow: Pentagon 99">
              <a:extLst>
                <a:ext uri="{FF2B5EF4-FFF2-40B4-BE49-F238E27FC236}">
                  <a16:creationId xmlns:a16="http://schemas.microsoft.com/office/drawing/2014/main" id="{42354F17-4A5F-4810-AFE7-95D4833C2B78}"/>
                </a:ext>
              </a:extLst>
            </p:cNvPr>
            <p:cNvSpPr/>
            <p:nvPr/>
          </p:nvSpPr>
          <p:spPr bwMode="auto">
            <a:xfrm>
              <a:off x="948090" y="4792976"/>
              <a:ext cx="1990183"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pPr>
              <a:r>
                <a:rPr lang="en-US" sz="1200">
                  <a:latin typeface="Arial" panose="020B0604020202020204" pitchFamily="34" charset="0"/>
                  <a:cs typeface="Arial" panose="020B0604020202020204" pitchFamily="34" charset="0"/>
                </a:rPr>
                <a:t>Forecast Data</a:t>
              </a:r>
              <a:endParaRPr lang="en-US" sz="1200" dirty="0">
                <a:latin typeface="Arial" panose="020B0604020202020204" pitchFamily="34" charset="0"/>
                <a:cs typeface="Arial" panose="020B0604020202020204" pitchFamily="34" charset="0"/>
              </a:endParaRPr>
            </a:p>
          </p:txBody>
        </p:sp>
        <p:sp>
          <p:nvSpPr>
            <p:cNvPr id="29" name="Arrow: Pentagon 100">
              <a:extLst>
                <a:ext uri="{FF2B5EF4-FFF2-40B4-BE49-F238E27FC236}">
                  <a16:creationId xmlns:a16="http://schemas.microsoft.com/office/drawing/2014/main" id="{1874A223-A3E9-4304-806D-182101297F0E}"/>
                </a:ext>
              </a:extLst>
            </p:cNvPr>
            <p:cNvSpPr/>
            <p:nvPr/>
          </p:nvSpPr>
          <p:spPr bwMode="auto">
            <a:xfrm>
              <a:off x="1413172" y="5350902"/>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ts val="0"/>
                </a:spcBef>
                <a:defRPr/>
              </a:pPr>
              <a:r>
                <a:rPr lang="en-US" sz="1200">
                  <a:latin typeface="Arial" pitchFamily="34" charset="0"/>
                  <a:ea typeface="ＭＳ Ｐゴシック" charset="-128"/>
                </a:rPr>
                <a:t>Asset Data</a:t>
              </a:r>
              <a:endParaRPr lang="en-US" sz="1200" dirty="0">
                <a:latin typeface="Arial" pitchFamily="34" charset="0"/>
                <a:ea typeface="ＭＳ Ｐゴシック" charset="-128"/>
              </a:endParaRPr>
            </a:p>
          </p:txBody>
        </p:sp>
      </p:grpSp>
      <p:sp>
        <p:nvSpPr>
          <p:cNvPr id="39" name="Arrow: Pentagon 98">
            <a:extLst>
              <a:ext uri="{FF2B5EF4-FFF2-40B4-BE49-F238E27FC236}">
                <a16:creationId xmlns:a16="http://schemas.microsoft.com/office/drawing/2014/main" id="{7339FE36-A30C-414B-BC5C-FBF0645F4BBB}"/>
              </a:ext>
            </a:extLst>
          </p:cNvPr>
          <p:cNvSpPr>
            <a:spLocks/>
          </p:cNvSpPr>
          <p:nvPr/>
        </p:nvSpPr>
        <p:spPr bwMode="auto">
          <a:xfrm flipH="1">
            <a:off x="9263962" y="2333183"/>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defRPr/>
            </a:pPr>
            <a:r>
              <a:rPr lang="en-US" sz="1200">
                <a:latin typeface="Arial" pitchFamily="34" charset="0"/>
                <a:ea typeface="ＭＳ Ｐゴシック" charset="-128"/>
              </a:rPr>
              <a:t> Alert Data</a:t>
            </a:r>
            <a:endParaRPr lang="en-US" sz="1200" dirty="0">
              <a:latin typeface="Arial" pitchFamily="34" charset="0"/>
              <a:ea typeface="ＭＳ Ｐゴシック" charset="-128"/>
            </a:endParaRPr>
          </a:p>
        </p:txBody>
      </p:sp>
      <p:sp>
        <p:nvSpPr>
          <p:cNvPr id="40" name="Arrow: Pentagon 99">
            <a:extLst>
              <a:ext uri="{FF2B5EF4-FFF2-40B4-BE49-F238E27FC236}">
                <a16:creationId xmlns:a16="http://schemas.microsoft.com/office/drawing/2014/main" id="{A182A9EC-D80E-4A1F-A808-7D44BDD9C883}"/>
              </a:ext>
            </a:extLst>
          </p:cNvPr>
          <p:cNvSpPr/>
          <p:nvPr/>
        </p:nvSpPr>
        <p:spPr bwMode="auto">
          <a:xfrm flipH="1">
            <a:off x="9263961" y="2887977"/>
            <a:ext cx="1990183"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pPr>
            <a:r>
              <a:rPr lang="en-US" sz="1200">
                <a:latin typeface="Arial" panose="020B0604020202020204" pitchFamily="34" charset="0"/>
                <a:cs typeface="Arial" panose="020B0604020202020204" pitchFamily="34" charset="0"/>
              </a:rPr>
              <a:t>Real Time Data</a:t>
            </a:r>
            <a:endParaRPr lang="en-US" sz="1200" dirty="0">
              <a:latin typeface="Arial" panose="020B0604020202020204" pitchFamily="34" charset="0"/>
              <a:cs typeface="Arial" panose="020B0604020202020204" pitchFamily="34" charset="0"/>
            </a:endParaRPr>
          </a:p>
        </p:txBody>
      </p:sp>
      <p:sp>
        <p:nvSpPr>
          <p:cNvPr id="41" name="Arrow: Pentagon 100">
            <a:extLst>
              <a:ext uri="{FF2B5EF4-FFF2-40B4-BE49-F238E27FC236}">
                <a16:creationId xmlns:a16="http://schemas.microsoft.com/office/drawing/2014/main" id="{E347A9E5-E42D-49F4-8D31-B3FE487D1AB4}"/>
              </a:ext>
            </a:extLst>
          </p:cNvPr>
          <p:cNvSpPr/>
          <p:nvPr/>
        </p:nvSpPr>
        <p:spPr bwMode="auto">
          <a:xfrm flipH="1">
            <a:off x="9263959" y="3445903"/>
            <a:ext cx="2368730"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defRPr/>
            </a:pPr>
            <a:r>
              <a:rPr lang="en-US" sz="1200">
                <a:latin typeface="Arial" pitchFamily="34" charset="0"/>
                <a:ea typeface="ＭＳ Ｐゴシック" charset="-128"/>
              </a:rPr>
              <a:t>Historical Data</a:t>
            </a:r>
            <a:endParaRPr lang="en-US" sz="1200" dirty="0">
              <a:latin typeface="Arial" pitchFamily="34" charset="0"/>
              <a:ea typeface="ＭＳ Ｐゴシック" charset="-128"/>
            </a:endParaRPr>
          </a:p>
        </p:txBody>
      </p:sp>
      <p:sp>
        <p:nvSpPr>
          <p:cNvPr id="42" name="Arrow: Pentagon 98">
            <a:extLst>
              <a:ext uri="{FF2B5EF4-FFF2-40B4-BE49-F238E27FC236}">
                <a16:creationId xmlns:a16="http://schemas.microsoft.com/office/drawing/2014/main" id="{6A75BD27-EC40-40D7-9A67-6C44A43FC94D}"/>
              </a:ext>
            </a:extLst>
          </p:cNvPr>
          <p:cNvSpPr>
            <a:spLocks/>
          </p:cNvSpPr>
          <p:nvPr/>
        </p:nvSpPr>
        <p:spPr bwMode="auto">
          <a:xfrm flipH="1">
            <a:off x="9263960" y="4238183"/>
            <a:ext cx="2368730"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pPr>
            <a:r>
              <a:rPr lang="en-US" sz="1200" dirty="0">
                <a:latin typeface="Arial" pitchFamily="34" charset="0"/>
                <a:ea typeface="ＭＳ Ｐゴシック" charset="-128"/>
              </a:rPr>
              <a:t> </a:t>
            </a:r>
            <a:r>
              <a:rPr lang="en-US" sz="1200">
                <a:latin typeface="Arial" pitchFamily="34" charset="0"/>
                <a:ea typeface="ＭＳ Ｐゴシック" charset="-128"/>
              </a:rPr>
              <a:t>Optimization Data</a:t>
            </a:r>
            <a:endParaRPr lang="en-US" sz="1200" dirty="0">
              <a:latin typeface="Arial" pitchFamily="34" charset="0"/>
              <a:ea typeface="ＭＳ Ｐゴシック" charset="-128"/>
            </a:endParaRPr>
          </a:p>
        </p:txBody>
      </p:sp>
      <p:sp>
        <p:nvSpPr>
          <p:cNvPr id="43" name="Arrow: Pentagon 99">
            <a:extLst>
              <a:ext uri="{FF2B5EF4-FFF2-40B4-BE49-F238E27FC236}">
                <a16:creationId xmlns:a16="http://schemas.microsoft.com/office/drawing/2014/main" id="{BE750A33-01D7-419F-BDA1-25F256DBA3F9}"/>
              </a:ext>
            </a:extLst>
          </p:cNvPr>
          <p:cNvSpPr/>
          <p:nvPr/>
        </p:nvSpPr>
        <p:spPr bwMode="auto">
          <a:xfrm flipH="1">
            <a:off x="9263961" y="4792977"/>
            <a:ext cx="1990183"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pPr>
            <a:r>
              <a:rPr lang="en-US" sz="1200">
                <a:latin typeface="Arial" panose="020B0604020202020204" pitchFamily="34" charset="0"/>
                <a:cs typeface="Arial" panose="020B0604020202020204" pitchFamily="34" charset="0"/>
              </a:rPr>
              <a:t> Equipment Data</a:t>
            </a:r>
            <a:endParaRPr lang="en-US" sz="1200" dirty="0">
              <a:latin typeface="Arial" panose="020B0604020202020204" pitchFamily="34" charset="0"/>
              <a:cs typeface="Arial" panose="020B0604020202020204" pitchFamily="34" charset="0"/>
            </a:endParaRPr>
          </a:p>
        </p:txBody>
      </p:sp>
      <p:sp>
        <p:nvSpPr>
          <p:cNvPr id="44" name="Arrow: Pentagon 100">
            <a:extLst>
              <a:ext uri="{FF2B5EF4-FFF2-40B4-BE49-F238E27FC236}">
                <a16:creationId xmlns:a16="http://schemas.microsoft.com/office/drawing/2014/main" id="{FA5B7F64-A8F9-4183-9A91-205D4B8A6429}"/>
              </a:ext>
            </a:extLst>
          </p:cNvPr>
          <p:cNvSpPr/>
          <p:nvPr/>
        </p:nvSpPr>
        <p:spPr bwMode="auto">
          <a:xfrm flipH="1">
            <a:off x="9263961" y="5350903"/>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defRPr/>
            </a:pPr>
            <a:r>
              <a:rPr lang="en-US" sz="1200">
                <a:latin typeface="Arial" pitchFamily="34" charset="0"/>
                <a:ea typeface="ＭＳ Ｐゴシック" charset="-128"/>
              </a:rPr>
              <a:t> eLog Data</a:t>
            </a:r>
            <a:endParaRPr lang="en-US" sz="1200" dirty="0">
              <a:latin typeface="Arial" pitchFamily="34" charset="0"/>
              <a:ea typeface="ＭＳ Ｐゴシック" charset="-128"/>
            </a:endParaRPr>
          </a:p>
        </p:txBody>
      </p:sp>
      <p:sp>
        <p:nvSpPr>
          <p:cNvPr id="45" name="Rectangle 71">
            <a:extLst>
              <a:ext uri="{FF2B5EF4-FFF2-40B4-BE49-F238E27FC236}">
                <a16:creationId xmlns:a16="http://schemas.microsoft.com/office/drawing/2014/main" id="{5904F538-F73C-4C30-B91F-ECFCBBAB191D}"/>
              </a:ext>
            </a:extLst>
          </p:cNvPr>
          <p:cNvSpPr/>
          <p:nvPr/>
        </p:nvSpPr>
        <p:spPr>
          <a:xfrm>
            <a:off x="3868118" y="2250876"/>
            <a:ext cx="4564832" cy="3635482"/>
          </a:xfrm>
          <a:prstGeom prst="rect">
            <a:avLst/>
          </a:prstGeom>
          <a:noFill/>
          <a:effectLst/>
        </p:spPr>
        <p:txBody>
          <a:bodyPr wrap="square">
            <a:spAutoFit/>
          </a:bodyPr>
          <a:lstStyle/>
          <a:p>
            <a:pPr algn="ctr" defTabSz="913486">
              <a:lnSpc>
                <a:spcPct val="110000"/>
              </a:lnSpc>
              <a:spcBef>
                <a:spcPct val="0"/>
              </a:spcBef>
              <a:defRPr/>
            </a:pPr>
            <a:r>
              <a:rPr lang="en-US" sz="2800" b="1" dirty="0">
                <a:solidFill>
                  <a:schemeClr val="tx1"/>
                </a:solidFill>
                <a:latin typeface="+mj-lt"/>
                <a:cs typeface="Arial" panose="020B0604020202020204" pitchFamily="34" charset="0"/>
              </a:rPr>
              <a:t>Digitalization</a:t>
            </a:r>
            <a:endParaRPr lang="en-US" sz="2399" b="1" dirty="0">
              <a:solidFill>
                <a:schemeClr val="tx1"/>
              </a:solidFill>
              <a:latin typeface="+mj-lt"/>
              <a:ea typeface="Arial" panose="020B0604020202020204" pitchFamily="34" charset="-128"/>
              <a:cs typeface="Arial" panose="020B0604020202020204" pitchFamily="34" charset="-128"/>
            </a:endParaRPr>
          </a:p>
          <a:p>
            <a:pPr algn="ctr" defTabSz="913486">
              <a:lnSpc>
                <a:spcPct val="110000"/>
              </a:lnSpc>
              <a:spcBef>
                <a:spcPct val="0"/>
              </a:spcBef>
              <a:defRPr/>
            </a:pPr>
            <a:r>
              <a:rPr lang="en-US" sz="1399" spc="150" dirty="0">
                <a:solidFill>
                  <a:schemeClr val="tx1"/>
                </a:solidFill>
                <a:cs typeface="Arial" panose="020B0604020202020204" pitchFamily="34" charset="0"/>
              </a:rPr>
              <a:t>Brings these worlds of</a:t>
            </a:r>
          </a:p>
          <a:p>
            <a:pPr algn="ctr" defTabSz="913486">
              <a:lnSpc>
                <a:spcPct val="110000"/>
              </a:lnSpc>
              <a:spcBef>
                <a:spcPct val="0"/>
              </a:spcBef>
              <a:defRPr/>
            </a:pPr>
            <a:r>
              <a:rPr lang="en-US" sz="1399" spc="150" dirty="0">
                <a:solidFill>
                  <a:schemeClr val="tx1"/>
                </a:solidFill>
                <a:cs typeface="Arial" panose="020B0604020202020204" pitchFamily="34" charset="0"/>
              </a:rPr>
              <a:t>information together</a:t>
            </a:r>
          </a:p>
          <a:p>
            <a:pPr algn="ctr" defTabSz="913486">
              <a:lnSpc>
                <a:spcPct val="110000"/>
              </a:lnSpc>
              <a:spcBef>
                <a:spcPct val="0"/>
              </a:spcBef>
              <a:defRPr/>
            </a:pPr>
            <a:br>
              <a:rPr lang="en-US" sz="1798" b="1" dirty="0">
                <a:solidFill>
                  <a:schemeClr val="tx1"/>
                </a:solidFill>
                <a:latin typeface="+mj-lt"/>
                <a:ea typeface="Arial" panose="020B0604020202020204" pitchFamily="34" charset="-128"/>
                <a:cs typeface="Arial" panose="020B0604020202020204" pitchFamily="34" charset="-128"/>
              </a:rPr>
            </a:br>
            <a:endParaRPr lang="en-US" sz="1798" b="1" dirty="0">
              <a:solidFill>
                <a:schemeClr val="tx1"/>
              </a:solidFill>
              <a:latin typeface="+mj-lt"/>
              <a:ea typeface="Arial" panose="020B0604020202020204" pitchFamily="34" charset="-128"/>
              <a:cs typeface="Arial" panose="020B0604020202020204" pitchFamily="34" charset="-128"/>
            </a:endParaRPr>
          </a:p>
          <a:p>
            <a:pPr algn="ctr" defTabSz="913486">
              <a:lnSpc>
                <a:spcPct val="110000"/>
              </a:lnSpc>
              <a:spcBef>
                <a:spcPct val="0"/>
              </a:spcBef>
              <a:defRPr/>
            </a:pPr>
            <a:r>
              <a:rPr lang="en-US" sz="1798" b="1" dirty="0">
                <a:solidFill>
                  <a:schemeClr val="accent2"/>
                </a:solidFill>
                <a:latin typeface="+mj-lt"/>
                <a:ea typeface="Arial" panose="020B0604020202020204" pitchFamily="34" charset="-128"/>
                <a:cs typeface="Arial" panose="020B0604020202020204" pitchFamily="34" charset="-128"/>
              </a:rPr>
              <a:t>Quickly </a:t>
            </a:r>
          </a:p>
          <a:p>
            <a:pPr algn="ctr" defTabSz="913486">
              <a:lnSpc>
                <a:spcPct val="110000"/>
              </a:lnSpc>
              <a:spcBef>
                <a:spcPct val="0"/>
              </a:spcBef>
              <a:defRPr/>
            </a:pPr>
            <a:r>
              <a:rPr lang="en-US" sz="1798" b="1" dirty="0">
                <a:solidFill>
                  <a:schemeClr val="accent2"/>
                </a:solidFill>
                <a:latin typeface="+mj-lt"/>
                <a:ea typeface="Arial" panose="020B0604020202020204" pitchFamily="34" charset="-128"/>
                <a:cs typeface="Arial" panose="020B0604020202020204" pitchFamily="34" charset="-128"/>
              </a:rPr>
              <a:t>Reliably</a:t>
            </a:r>
          </a:p>
          <a:p>
            <a:pPr algn="ctr" defTabSz="913486">
              <a:lnSpc>
                <a:spcPct val="110000"/>
              </a:lnSpc>
              <a:spcBef>
                <a:spcPct val="0"/>
              </a:spcBef>
              <a:defRPr/>
            </a:pPr>
            <a:r>
              <a:rPr lang="en-US" sz="1798" b="1" dirty="0">
                <a:solidFill>
                  <a:schemeClr val="accent2"/>
                </a:solidFill>
                <a:latin typeface="+mj-lt"/>
                <a:ea typeface="Arial" panose="020B0604020202020204" pitchFamily="34" charset="-128"/>
                <a:cs typeface="Arial" panose="020B0604020202020204" pitchFamily="34" charset="-128"/>
              </a:rPr>
              <a:t>Consistently</a:t>
            </a:r>
          </a:p>
          <a:p>
            <a:pPr algn="ctr" defTabSz="913486">
              <a:lnSpc>
                <a:spcPct val="110000"/>
              </a:lnSpc>
              <a:spcBef>
                <a:spcPct val="0"/>
              </a:spcBef>
              <a:spcAft>
                <a:spcPts val="600"/>
              </a:spcAft>
              <a:defRPr/>
            </a:pPr>
            <a:r>
              <a:rPr lang="en-US" sz="1798" b="1" dirty="0">
                <a:solidFill>
                  <a:schemeClr val="accent2"/>
                </a:solidFill>
                <a:latin typeface="+mj-lt"/>
                <a:ea typeface="Arial" panose="020B0604020202020204" pitchFamily="34" charset="-128"/>
                <a:cs typeface="Arial" panose="020B0604020202020204" pitchFamily="34" charset="-128"/>
              </a:rPr>
              <a:t>Seamlessly</a:t>
            </a:r>
          </a:p>
          <a:p>
            <a:pPr algn="ctr" defTabSz="913486">
              <a:lnSpc>
                <a:spcPct val="110000"/>
              </a:lnSpc>
              <a:spcBef>
                <a:spcPct val="0"/>
              </a:spcBef>
              <a:defRPr/>
            </a:pPr>
            <a:r>
              <a:rPr lang="en-US" sz="1399" spc="150" dirty="0">
                <a:solidFill>
                  <a:schemeClr val="tx1"/>
                </a:solidFill>
                <a:cs typeface="Arial" panose="020B0604020202020204" pitchFamily="34" charset="0"/>
              </a:rPr>
              <a:t>Origins of data and</a:t>
            </a:r>
          </a:p>
          <a:p>
            <a:pPr algn="ctr" defTabSz="913486">
              <a:lnSpc>
                <a:spcPct val="110000"/>
              </a:lnSpc>
              <a:spcBef>
                <a:spcPct val="0"/>
              </a:spcBef>
              <a:defRPr/>
            </a:pPr>
            <a:r>
              <a:rPr lang="en-US" sz="1399" spc="150" dirty="0">
                <a:solidFill>
                  <a:schemeClr val="tx1"/>
                </a:solidFill>
                <a:cs typeface="Arial" panose="020B0604020202020204" pitchFamily="34" charset="0"/>
              </a:rPr>
              <a:t>access to visualization tools </a:t>
            </a:r>
          </a:p>
          <a:p>
            <a:pPr algn="ctr" defTabSz="913486">
              <a:lnSpc>
                <a:spcPct val="110000"/>
              </a:lnSpc>
              <a:spcBef>
                <a:spcPct val="0"/>
              </a:spcBef>
              <a:defRPr/>
            </a:pPr>
            <a:r>
              <a:rPr lang="en-US" sz="1399" b="1" spc="150" dirty="0">
                <a:solidFill>
                  <a:schemeClr val="tx1"/>
                </a:solidFill>
                <a:cs typeface="Arial" panose="020B0604020202020204" pitchFamily="34" charset="0"/>
              </a:rPr>
              <a:t>should be transparent to the user</a:t>
            </a:r>
          </a:p>
        </p:txBody>
      </p:sp>
      <p:sp>
        <p:nvSpPr>
          <p:cNvPr id="48" name="Freihandform: Form 47">
            <a:extLst>
              <a:ext uri="{FF2B5EF4-FFF2-40B4-BE49-F238E27FC236}">
                <a16:creationId xmlns:a16="http://schemas.microsoft.com/office/drawing/2014/main" id="{4799528A-8731-4EA0-9C28-F8B567D57E6D}"/>
              </a:ext>
            </a:extLst>
          </p:cNvPr>
          <p:cNvSpPr/>
          <p:nvPr/>
        </p:nvSpPr>
        <p:spPr>
          <a:xfrm>
            <a:off x="5963767" y="3489981"/>
            <a:ext cx="373534" cy="280442"/>
          </a:xfrm>
          <a:custGeom>
            <a:avLst/>
            <a:gdLst>
              <a:gd name="connsiteX0" fmla="*/ 546954 w 546953"/>
              <a:gd name="connsiteY0" fmla="*/ 56337 h 410644"/>
              <a:gd name="connsiteX1" fmla="*/ 191198 w 546953"/>
              <a:gd name="connsiteY1" fmla="*/ 410645 h 410644"/>
              <a:gd name="connsiteX2" fmla="*/ 0 w 546953"/>
              <a:gd name="connsiteY2" fmla="*/ 219071 h 410644"/>
              <a:gd name="connsiteX3" fmla="*/ 56954 w 546953"/>
              <a:gd name="connsiteY3" fmla="*/ 162734 h 410644"/>
              <a:gd name="connsiteX4" fmla="*/ 179447 w 546953"/>
              <a:gd name="connsiteY4" fmla="*/ 269104 h 410644"/>
              <a:gd name="connsiteX5" fmla="*/ 490456 w 546953"/>
              <a:gd name="connsiteY5" fmla="*/ 0 h 410644"/>
              <a:gd name="connsiteX6" fmla="*/ 546954 w 546953"/>
              <a:gd name="connsiteY6" fmla="*/ 56337 h 410644"/>
              <a:gd name="connsiteX7" fmla="*/ 546954 w 546953"/>
              <a:gd name="connsiteY7" fmla="*/ 56337 h 410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953" h="410644">
                <a:moveTo>
                  <a:pt x="546954" y="56337"/>
                </a:moveTo>
                <a:lnTo>
                  <a:pt x="191198" y="410645"/>
                </a:lnTo>
                <a:lnTo>
                  <a:pt x="0" y="219071"/>
                </a:lnTo>
                <a:lnTo>
                  <a:pt x="56954" y="162734"/>
                </a:lnTo>
                <a:lnTo>
                  <a:pt x="179447" y="269104"/>
                </a:lnTo>
                <a:lnTo>
                  <a:pt x="490456" y="0"/>
                </a:lnTo>
                <a:lnTo>
                  <a:pt x="546954" y="56337"/>
                </a:lnTo>
                <a:lnTo>
                  <a:pt x="546954" y="56337"/>
                </a:lnTo>
                <a:close/>
              </a:path>
            </a:pathLst>
          </a:custGeom>
          <a:solidFill>
            <a:schemeClr val="accent2"/>
          </a:solidFill>
          <a:ln w="2681" cap="flat">
            <a:noFill/>
            <a:prstDash val="solid"/>
            <a:miter/>
          </a:ln>
        </p:spPr>
        <p:txBody>
          <a:bodyPr rtlCol="0" anchor="ctr"/>
          <a:lstStyle/>
          <a:p>
            <a:endParaRPr lang="en-US" dirty="0"/>
          </a:p>
        </p:txBody>
      </p:sp>
    </p:spTree>
    <p:extLst>
      <p:ext uri="{BB962C8B-B14F-4D97-AF65-F5344CB8AC3E}">
        <p14:creationId xmlns:p14="http://schemas.microsoft.com/office/powerpoint/2010/main" val="24334926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kt 54" hidden="1">
            <a:extLst>
              <a:ext uri="{FF2B5EF4-FFF2-40B4-BE49-F238E27FC236}">
                <a16:creationId xmlns:a16="http://schemas.microsoft.com/office/drawing/2014/main" id="{2B76C588-9DFB-419A-9EC3-71C66D2354C3}"/>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7194" name="think-cell Folie" r:id="rId5" imgW="306" imgH="306" progId="TCLayout.ActiveDocument.1">
                  <p:embed/>
                </p:oleObj>
              </mc:Choice>
              <mc:Fallback>
                <p:oleObj name="think-cell Folie" r:id="rId5" imgW="306" imgH="306" progId="TCLayout.ActiveDocument.1">
                  <p:embed/>
                  <p:pic>
                    <p:nvPicPr>
                      <p:cNvPr id="55" name="Objekt 54" hidden="1">
                        <a:extLst>
                          <a:ext uri="{FF2B5EF4-FFF2-40B4-BE49-F238E27FC236}">
                            <a16:creationId xmlns:a16="http://schemas.microsoft.com/office/drawing/2014/main" id="{2B76C588-9DFB-419A-9EC3-71C66D2354C3}"/>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cxnSp>
        <p:nvCxnSpPr>
          <p:cNvPr id="18" name="Gerade Verbindung mit Pfeil 17">
            <a:extLst>
              <a:ext uri="{FF2B5EF4-FFF2-40B4-BE49-F238E27FC236}">
                <a16:creationId xmlns:a16="http://schemas.microsoft.com/office/drawing/2014/main" id="{87DFDE75-634C-4887-ADE8-0603466320E5}"/>
              </a:ext>
            </a:extLst>
          </p:cNvPr>
          <p:cNvCxnSpPr>
            <a:cxnSpLocks/>
          </p:cNvCxnSpPr>
          <p:nvPr/>
        </p:nvCxnSpPr>
        <p:spPr>
          <a:xfrm>
            <a:off x="4202151" y="5236673"/>
            <a:ext cx="2125625" cy="0"/>
          </a:xfrm>
          <a:prstGeom prst="straightConnector1">
            <a:avLst/>
          </a:prstGeom>
          <a:ln w="1905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78FA7158-636C-4084-AA35-4791C93CFA4B}"/>
              </a:ext>
            </a:extLst>
          </p:cNvPr>
          <p:cNvCxnSpPr>
            <a:cxnSpLocks/>
          </p:cNvCxnSpPr>
          <p:nvPr/>
        </p:nvCxnSpPr>
        <p:spPr>
          <a:xfrm>
            <a:off x="4410075" y="5451424"/>
            <a:ext cx="1917700" cy="0"/>
          </a:xfrm>
          <a:prstGeom prst="straightConnector1">
            <a:avLst/>
          </a:prstGeom>
          <a:ln w="1905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56" name="Gerade Verbindung mit Pfeil 55">
            <a:extLst>
              <a:ext uri="{FF2B5EF4-FFF2-40B4-BE49-F238E27FC236}">
                <a16:creationId xmlns:a16="http://schemas.microsoft.com/office/drawing/2014/main" id="{62B601D3-6F95-4D28-9C6E-DF2486D05776}"/>
              </a:ext>
            </a:extLst>
          </p:cNvPr>
          <p:cNvCxnSpPr>
            <a:cxnSpLocks/>
          </p:cNvCxnSpPr>
          <p:nvPr/>
        </p:nvCxnSpPr>
        <p:spPr>
          <a:xfrm>
            <a:off x="4867275" y="5666175"/>
            <a:ext cx="1460500" cy="0"/>
          </a:xfrm>
          <a:prstGeom prst="straightConnector1">
            <a:avLst/>
          </a:prstGeom>
          <a:ln w="1905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57" name="Gerade Verbindung mit Pfeil 56">
            <a:extLst>
              <a:ext uri="{FF2B5EF4-FFF2-40B4-BE49-F238E27FC236}">
                <a16:creationId xmlns:a16="http://schemas.microsoft.com/office/drawing/2014/main" id="{EAFBFA4A-BAD3-4918-B528-A400B945549C}"/>
              </a:ext>
            </a:extLst>
          </p:cNvPr>
          <p:cNvCxnSpPr>
            <a:cxnSpLocks/>
          </p:cNvCxnSpPr>
          <p:nvPr/>
        </p:nvCxnSpPr>
        <p:spPr>
          <a:xfrm>
            <a:off x="4975225" y="5880926"/>
            <a:ext cx="1352550" cy="0"/>
          </a:xfrm>
          <a:prstGeom prst="straightConnector1">
            <a:avLst/>
          </a:prstGeom>
          <a:ln w="1905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cxnSp>
        <p:nvCxnSpPr>
          <p:cNvPr id="58" name="Gerade Verbindung mit Pfeil 57">
            <a:extLst>
              <a:ext uri="{FF2B5EF4-FFF2-40B4-BE49-F238E27FC236}">
                <a16:creationId xmlns:a16="http://schemas.microsoft.com/office/drawing/2014/main" id="{12760571-0F39-4EBB-8EA7-A00601BFA61F}"/>
              </a:ext>
            </a:extLst>
          </p:cNvPr>
          <p:cNvCxnSpPr>
            <a:cxnSpLocks/>
          </p:cNvCxnSpPr>
          <p:nvPr/>
        </p:nvCxnSpPr>
        <p:spPr>
          <a:xfrm>
            <a:off x="4051301" y="6095676"/>
            <a:ext cx="2276475" cy="0"/>
          </a:xfrm>
          <a:prstGeom prst="straightConnector1">
            <a:avLst/>
          </a:prstGeom>
          <a:ln w="1905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F3B2EB6F-05C3-4645-AE56-55F96421F242}"/>
              </a:ext>
            </a:extLst>
          </p:cNvPr>
          <p:cNvSpPr>
            <a:spLocks noGrp="1"/>
          </p:cNvSpPr>
          <p:nvPr>
            <p:ph type="title"/>
          </p:nvPr>
        </p:nvSpPr>
        <p:spPr/>
        <p:txBody>
          <a:bodyPr vert="horz"/>
          <a:lstStyle/>
          <a:p>
            <a:r>
              <a:rPr lang="en-US" dirty="0" err="1">
                <a:latin typeface="Arial"/>
                <a:cs typeface="Arial"/>
              </a:rPr>
              <a:t>PlantSight</a:t>
            </a:r>
            <a:r>
              <a:rPr lang="en-US" dirty="0">
                <a:latin typeface="Arial"/>
                <a:cs typeface="Arial"/>
              </a:rPr>
              <a:t>  </a:t>
            </a:r>
            <a:br>
              <a:rPr lang="en-US" dirty="0">
                <a:latin typeface="Arial"/>
                <a:cs typeface="Arial"/>
              </a:rPr>
            </a:br>
            <a:r>
              <a:rPr lang="en-US" b="0" dirty="0">
                <a:cs typeface="Arial"/>
              </a:rPr>
              <a:t>In a Nutshell</a:t>
            </a:r>
            <a:br>
              <a:rPr lang="en-US" b="0" dirty="0">
                <a:latin typeface="Arial"/>
                <a:cs typeface="Arial"/>
              </a:rPr>
            </a:br>
            <a:endParaRPr lang="en-US" b="0" dirty="0"/>
          </a:p>
        </p:txBody>
      </p:sp>
      <p:sp>
        <p:nvSpPr>
          <p:cNvPr id="3" name="Fußzeilenplatzhalter 2">
            <a:extLst>
              <a:ext uri="{FF2B5EF4-FFF2-40B4-BE49-F238E27FC236}">
                <a16:creationId xmlns:a16="http://schemas.microsoft.com/office/drawing/2014/main" id="{FEF5FE7C-C1E8-4885-963F-A5A93DF40607}"/>
              </a:ext>
            </a:extLst>
          </p:cNvPr>
          <p:cNvSpPr>
            <a:spLocks noGrp="1"/>
          </p:cNvSpPr>
          <p:nvPr>
            <p:ph type="ftr" sz="quarter" idx="10"/>
          </p:nvPr>
        </p:nvSpPr>
        <p:spPr/>
        <p:txBody>
          <a:bodyPr/>
          <a:lstStyle/>
          <a:p>
            <a:pPr fontAlgn="auto">
              <a:spcBef>
                <a:spcPts val="0"/>
              </a:spcBef>
              <a:spcAft>
                <a:spcPts val="0"/>
              </a:spcAft>
            </a:pPr>
            <a:r>
              <a:rPr lang="en-US">
                <a:solidFill>
                  <a:prstClr val="white"/>
                </a:solidFill>
                <a:latin typeface="Arial"/>
                <a:ea typeface="+mn-ea"/>
              </a:rPr>
              <a:t>Unrestricted | © Siemens 2021 | PlantSight | May 2021</a:t>
            </a:r>
            <a:endParaRPr lang="en-US" dirty="0">
              <a:solidFill>
                <a:prstClr val="white"/>
              </a:solidFill>
              <a:latin typeface="Arial"/>
              <a:ea typeface="+mn-ea"/>
            </a:endParaRPr>
          </a:p>
        </p:txBody>
      </p:sp>
      <p:sp>
        <p:nvSpPr>
          <p:cNvPr id="4" name="Foliennummernplatzhalter 3">
            <a:extLst>
              <a:ext uri="{FF2B5EF4-FFF2-40B4-BE49-F238E27FC236}">
                <a16:creationId xmlns:a16="http://schemas.microsoft.com/office/drawing/2014/main" id="{42C8732D-BF8C-4159-BC16-DADB2B0D3F1F}"/>
              </a:ext>
            </a:extLst>
          </p:cNvPr>
          <p:cNvSpPr>
            <a:spLocks noGrp="1"/>
          </p:cNvSpPr>
          <p:nvPr>
            <p:ph type="sldNum" sz="quarter" idx="11"/>
          </p:nvPr>
        </p:nvSpPr>
        <p:spPr/>
        <p:txBody>
          <a:bodyPr/>
          <a:lstStyle/>
          <a:p>
            <a:pPr fontAlgn="auto">
              <a:spcBef>
                <a:spcPts val="0"/>
              </a:spcBef>
              <a:spcAft>
                <a:spcPts val="0"/>
              </a:spcAft>
            </a:pPr>
            <a:r>
              <a:rPr lang="en-US" dirty="0">
                <a:solidFill>
                  <a:prstClr val="white"/>
                </a:solidFill>
                <a:latin typeface="Arial"/>
                <a:ea typeface="+mn-ea"/>
              </a:rPr>
              <a:t>Page </a:t>
            </a:r>
            <a:fld id="{15EBE321-CBB1-4E91-BD14-37C8D44326FB}" type="slidenum">
              <a:rPr lang="en-US">
                <a:solidFill>
                  <a:prstClr val="white"/>
                </a:solidFill>
                <a:latin typeface="Arial"/>
                <a:ea typeface="+mn-ea"/>
              </a:rPr>
              <a:pPr fontAlgn="auto">
                <a:spcBef>
                  <a:spcPts val="0"/>
                </a:spcBef>
                <a:spcAft>
                  <a:spcPts val="0"/>
                </a:spcAft>
              </a:pPr>
              <a:t>11</a:t>
            </a:fld>
            <a:endParaRPr lang="en-US" dirty="0">
              <a:solidFill>
                <a:prstClr val="white"/>
              </a:solidFill>
              <a:latin typeface="Arial"/>
              <a:ea typeface="+mn-ea"/>
            </a:endParaRPr>
          </a:p>
        </p:txBody>
      </p:sp>
      <p:sp>
        <p:nvSpPr>
          <p:cNvPr id="5" name="Rectangle 5">
            <a:extLst>
              <a:ext uri="{FF2B5EF4-FFF2-40B4-BE49-F238E27FC236}">
                <a16:creationId xmlns:a16="http://schemas.microsoft.com/office/drawing/2014/main" id="{EBE145D0-53BD-4F7A-97D9-934BD8FED27E}"/>
              </a:ext>
            </a:extLst>
          </p:cNvPr>
          <p:cNvSpPr>
            <a:spLocks/>
          </p:cNvSpPr>
          <p:nvPr/>
        </p:nvSpPr>
        <p:spPr bwMode="gray">
          <a:xfrm>
            <a:off x="8658907" y="1462514"/>
            <a:ext cx="3131457" cy="552652"/>
          </a:xfrm>
          <a:prstGeom prst="rect">
            <a:avLst/>
          </a:prstGeom>
          <a:noFill/>
          <a:ln w="28575">
            <a:noFill/>
          </a:ln>
          <a:effectLst/>
        </p:spPr>
        <p:txBody>
          <a:bodyPr wrap="square" lIns="144000" tIns="0" rIns="107720" bIns="0" numCol="1" spcCol="72000" rtlCol="0" anchor="ctr">
            <a:noAutofit/>
          </a:bodyPr>
          <a:lstStyle/>
          <a:p>
            <a:pPr defTabSz="913486" fontAlgn="auto">
              <a:spcBef>
                <a:spcPts val="0"/>
              </a:spcBef>
              <a:spcAft>
                <a:spcPts val="0"/>
              </a:spcAft>
              <a:buClr>
                <a:srgbClr val="879BAA"/>
              </a:buClr>
              <a:buSzPct val="100000"/>
              <a:defRPr/>
            </a:pPr>
            <a:r>
              <a:rPr lang="en-US" sz="1197" dirty="0">
                <a:solidFill>
                  <a:prstClr val="white"/>
                </a:solidFill>
                <a:latin typeface="Arial"/>
                <a:ea typeface="ＭＳ Ｐゴシック"/>
                <a:cs typeface="Arial"/>
              </a:rPr>
              <a:t>Inaccurate decisions causing loss </a:t>
            </a:r>
            <a:br>
              <a:rPr lang="en-US" sz="1197" dirty="0">
                <a:solidFill>
                  <a:prstClr val="white"/>
                </a:solidFill>
                <a:latin typeface="Arial"/>
                <a:ea typeface="ＭＳ Ｐゴシック"/>
                <a:cs typeface="Arial"/>
              </a:rPr>
            </a:br>
            <a:r>
              <a:rPr lang="en-US" sz="1197" dirty="0">
                <a:solidFill>
                  <a:prstClr val="white"/>
                </a:solidFill>
                <a:latin typeface="Arial"/>
                <a:ea typeface="ＭＳ Ｐゴシック"/>
                <a:cs typeface="Arial"/>
              </a:rPr>
              <a:t>in safety, performance and quality.</a:t>
            </a:r>
          </a:p>
        </p:txBody>
      </p:sp>
      <p:sp>
        <p:nvSpPr>
          <p:cNvPr id="6" name="Rectangle 3">
            <a:extLst>
              <a:ext uri="{FF2B5EF4-FFF2-40B4-BE49-F238E27FC236}">
                <a16:creationId xmlns:a16="http://schemas.microsoft.com/office/drawing/2014/main" id="{67A5E9A3-8026-4B5A-BBAB-39DD1181FC0A}"/>
              </a:ext>
            </a:extLst>
          </p:cNvPr>
          <p:cNvSpPr>
            <a:spLocks/>
          </p:cNvSpPr>
          <p:nvPr/>
        </p:nvSpPr>
        <p:spPr bwMode="gray">
          <a:xfrm>
            <a:off x="8658907" y="2242673"/>
            <a:ext cx="3131457" cy="2478408"/>
          </a:xfrm>
          <a:prstGeom prst="rect">
            <a:avLst/>
          </a:prstGeom>
          <a:gradFill>
            <a:gsLst>
              <a:gs pos="0">
                <a:schemeClr val="tx1">
                  <a:alpha val="25000"/>
                </a:schemeClr>
              </a:gs>
              <a:gs pos="100000">
                <a:schemeClr val="tx1">
                  <a:alpha val="0"/>
                </a:schemeClr>
              </a:gs>
            </a:gsLst>
            <a:lin ang="5400000" scaled="1"/>
          </a:gradFill>
          <a:ln>
            <a:noFill/>
          </a:ln>
          <a:effectLst/>
        </p:spPr>
        <p:txBody>
          <a:bodyPr wrap="square" lIns="144000" tIns="72000" rIns="144000" bIns="71889" numCol="1" spcCol="72000" rtlCol="0" anchor="t">
            <a:noAutofit/>
          </a:bodyPr>
          <a:lstStyle/>
          <a:p>
            <a:pPr defTabSz="913486" fontAlgn="auto">
              <a:lnSpc>
                <a:spcPct val="110000"/>
              </a:lnSpc>
              <a:spcBef>
                <a:spcPct val="0"/>
              </a:spcBef>
              <a:spcAft>
                <a:spcPts val="0"/>
              </a:spcAft>
              <a:defRPr/>
            </a:pPr>
            <a:r>
              <a:rPr lang="en-US" sz="1600" dirty="0">
                <a:solidFill>
                  <a:srgbClr val="00D7A0"/>
                </a:solidFill>
                <a:latin typeface="Arial"/>
              </a:rPr>
              <a:t>Gain insights</a:t>
            </a:r>
          </a:p>
          <a:p>
            <a:pPr defTabSz="913486" fontAlgn="auto">
              <a:lnSpc>
                <a:spcPct val="110000"/>
              </a:lnSpc>
              <a:spcBef>
                <a:spcPct val="0"/>
              </a:spcBef>
              <a:spcAft>
                <a:spcPts val="0"/>
              </a:spcAft>
              <a:defRPr/>
            </a:pPr>
            <a:r>
              <a:rPr lang="en-US" sz="1197" dirty="0">
                <a:solidFill>
                  <a:prstClr val="white"/>
                </a:solidFill>
                <a:latin typeface="Arial"/>
              </a:rPr>
              <a:t>For fast and accurate decisions like </a:t>
            </a:r>
            <a:br>
              <a:rPr lang="en-US" sz="1197" dirty="0">
                <a:solidFill>
                  <a:prstClr val="white"/>
                </a:solidFill>
                <a:latin typeface="Arial"/>
              </a:rPr>
            </a:br>
            <a:r>
              <a:rPr lang="en-US" sz="1197" dirty="0">
                <a:solidFill>
                  <a:prstClr val="white"/>
                </a:solidFill>
                <a:latin typeface="Arial"/>
              </a:rPr>
              <a:t>bad actor identification in context </a:t>
            </a:r>
            <a:br>
              <a:rPr lang="en-US" sz="1197" dirty="0">
                <a:solidFill>
                  <a:prstClr val="white"/>
                </a:solidFill>
                <a:latin typeface="Arial"/>
              </a:rPr>
            </a:br>
            <a:r>
              <a:rPr lang="en-US" sz="1197" dirty="0">
                <a:solidFill>
                  <a:prstClr val="white"/>
                </a:solidFill>
                <a:latin typeface="Arial"/>
              </a:rPr>
              <a:t>with possible countify actions.</a:t>
            </a:r>
          </a:p>
        </p:txBody>
      </p:sp>
      <p:sp>
        <p:nvSpPr>
          <p:cNvPr id="7" name="Rectangle 5">
            <a:extLst>
              <a:ext uri="{FF2B5EF4-FFF2-40B4-BE49-F238E27FC236}">
                <a16:creationId xmlns:a16="http://schemas.microsoft.com/office/drawing/2014/main" id="{AA78C5F7-E305-4A9B-9AB2-1707416C1EFD}"/>
              </a:ext>
            </a:extLst>
          </p:cNvPr>
          <p:cNvSpPr>
            <a:spLocks/>
          </p:cNvSpPr>
          <p:nvPr/>
        </p:nvSpPr>
        <p:spPr bwMode="gray">
          <a:xfrm>
            <a:off x="5455451" y="1462514"/>
            <a:ext cx="3131457" cy="552652"/>
          </a:xfrm>
          <a:prstGeom prst="rect">
            <a:avLst/>
          </a:prstGeom>
          <a:noFill/>
          <a:ln w="28575">
            <a:noFill/>
          </a:ln>
          <a:effectLst/>
        </p:spPr>
        <p:txBody>
          <a:bodyPr wrap="square" lIns="144000" tIns="0" rIns="107720" bIns="0" numCol="1" spcCol="72000" rtlCol="0" anchor="ctr">
            <a:noAutofit/>
          </a:bodyPr>
          <a:lstStyle/>
          <a:p>
            <a:pPr defTabSz="913486" fontAlgn="auto">
              <a:spcBef>
                <a:spcPts val="0"/>
              </a:spcBef>
              <a:spcAft>
                <a:spcPts val="0"/>
              </a:spcAft>
              <a:buClr>
                <a:srgbClr val="879BAA"/>
              </a:buClr>
              <a:buSzPct val="100000"/>
              <a:defRPr/>
            </a:pPr>
            <a:r>
              <a:rPr lang="en-US" sz="1197">
                <a:solidFill>
                  <a:prstClr val="white"/>
                </a:solidFill>
                <a:latin typeface="Arial"/>
                <a:ea typeface="ＭＳ Ｐゴシック"/>
                <a:cs typeface="Arial"/>
              </a:rPr>
              <a:t>Unplanned downtime</a:t>
            </a:r>
            <a:br>
              <a:rPr lang="en-US" sz="1197">
                <a:solidFill>
                  <a:prstClr val="white"/>
                </a:solidFill>
                <a:latin typeface="Arial"/>
                <a:ea typeface="ＭＳ Ｐゴシック"/>
                <a:cs typeface="Arial"/>
              </a:rPr>
            </a:br>
            <a:r>
              <a:rPr lang="en-US" sz="1197">
                <a:solidFill>
                  <a:prstClr val="white"/>
                </a:solidFill>
                <a:latin typeface="Arial"/>
                <a:ea typeface="ＭＳ Ｐゴシック"/>
                <a:cs typeface="Arial"/>
              </a:rPr>
              <a:t>Equipment and Process failures.</a:t>
            </a:r>
            <a:endParaRPr lang="en-US" sz="1197" dirty="0">
              <a:solidFill>
                <a:prstClr val="white"/>
              </a:solidFill>
              <a:latin typeface="Arial"/>
              <a:ea typeface="ＭＳ Ｐゴシック"/>
              <a:cs typeface="Arial"/>
            </a:endParaRPr>
          </a:p>
        </p:txBody>
      </p:sp>
      <p:sp>
        <p:nvSpPr>
          <p:cNvPr id="8" name="Rectangle 2">
            <a:extLst>
              <a:ext uri="{FF2B5EF4-FFF2-40B4-BE49-F238E27FC236}">
                <a16:creationId xmlns:a16="http://schemas.microsoft.com/office/drawing/2014/main" id="{3ECCBABE-17CC-44FA-94D0-BA92AA80FD39}"/>
              </a:ext>
            </a:extLst>
          </p:cNvPr>
          <p:cNvSpPr>
            <a:spLocks/>
          </p:cNvSpPr>
          <p:nvPr/>
        </p:nvSpPr>
        <p:spPr bwMode="gray">
          <a:xfrm>
            <a:off x="5455451" y="2242672"/>
            <a:ext cx="3131457" cy="2478408"/>
          </a:xfrm>
          <a:prstGeom prst="rect">
            <a:avLst/>
          </a:prstGeom>
          <a:gradFill>
            <a:gsLst>
              <a:gs pos="0">
                <a:schemeClr val="tx1">
                  <a:alpha val="25000"/>
                </a:schemeClr>
              </a:gs>
              <a:gs pos="100000">
                <a:schemeClr val="tx1">
                  <a:alpha val="0"/>
                </a:schemeClr>
              </a:gs>
            </a:gsLst>
            <a:lin ang="5400000" scaled="1"/>
          </a:gradFill>
          <a:ln>
            <a:noFill/>
          </a:ln>
          <a:effectLst/>
        </p:spPr>
        <p:txBody>
          <a:bodyPr wrap="square" lIns="144000" tIns="72000" rIns="144000" bIns="71889" numCol="1" spcCol="72000" rtlCol="0" anchor="t">
            <a:noAutofit/>
          </a:bodyPr>
          <a:lstStyle/>
          <a:p>
            <a:pPr defTabSz="913486" fontAlgn="auto">
              <a:lnSpc>
                <a:spcPct val="110000"/>
              </a:lnSpc>
              <a:spcBef>
                <a:spcPct val="0"/>
              </a:spcBef>
              <a:spcAft>
                <a:spcPts val="0"/>
              </a:spcAft>
              <a:defRPr/>
            </a:pPr>
            <a:r>
              <a:rPr lang="en-US" sz="1600" dirty="0">
                <a:solidFill>
                  <a:srgbClr val="00D7A0"/>
                </a:solidFill>
                <a:latin typeface="Arial"/>
              </a:rPr>
              <a:t>Collaborate</a:t>
            </a:r>
          </a:p>
          <a:p>
            <a:pPr defTabSz="913486" fontAlgn="auto">
              <a:lnSpc>
                <a:spcPct val="110000"/>
              </a:lnSpc>
              <a:spcBef>
                <a:spcPct val="0"/>
              </a:spcBef>
              <a:spcAft>
                <a:spcPts val="0"/>
              </a:spcAft>
              <a:defRPr/>
            </a:pPr>
            <a:r>
              <a:rPr lang="en-US" sz="1197" dirty="0">
                <a:solidFill>
                  <a:prstClr val="white"/>
                </a:solidFill>
                <a:latin typeface="Arial"/>
              </a:rPr>
              <a:t>Asset web portal to access contextualized data from all relevant sources with embedded VR capabilities.</a:t>
            </a:r>
          </a:p>
        </p:txBody>
      </p:sp>
      <p:sp>
        <p:nvSpPr>
          <p:cNvPr id="9" name="Rectangle 18">
            <a:extLst>
              <a:ext uri="{FF2B5EF4-FFF2-40B4-BE49-F238E27FC236}">
                <a16:creationId xmlns:a16="http://schemas.microsoft.com/office/drawing/2014/main" id="{7A6E7E10-0976-4679-91FD-15CD620A5C6A}"/>
              </a:ext>
            </a:extLst>
          </p:cNvPr>
          <p:cNvSpPr>
            <a:spLocks/>
          </p:cNvSpPr>
          <p:nvPr/>
        </p:nvSpPr>
        <p:spPr bwMode="gray">
          <a:xfrm>
            <a:off x="2251993" y="4933221"/>
            <a:ext cx="9365988" cy="1265346"/>
          </a:xfrm>
          <a:prstGeom prst="rect">
            <a:avLst/>
          </a:prstGeom>
          <a:noFill/>
          <a:ln>
            <a:noFill/>
          </a:ln>
          <a:effectLst/>
        </p:spPr>
        <p:txBody>
          <a:bodyPr wrap="square" lIns="0" tIns="0" rIns="0" bIns="0" numCol="1" spcCol="72000" rtlCol="0" anchor="t">
            <a:spAutoFit/>
          </a:bodyPr>
          <a:lstStyle/>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Contextualized search and find – better and faster decisions at your fingertips</a:t>
            </a:r>
          </a:p>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Increase asset availability</a:t>
            </a:r>
          </a:p>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Improve workforce efficiency</a:t>
            </a:r>
          </a:p>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Lower total cost of asset ownership</a:t>
            </a:r>
          </a:p>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Reduction in environmental incidents</a:t>
            </a:r>
          </a:p>
          <a:p>
            <a:pPr marL="171450" indent="-171450" defTabSz="913486" fontAlgn="auto">
              <a:lnSpc>
                <a:spcPct val="110000"/>
              </a:lnSpc>
              <a:spcBef>
                <a:spcPts val="100"/>
              </a:spcBef>
              <a:spcAft>
                <a:spcPts val="0"/>
              </a:spcAft>
              <a:buClr>
                <a:srgbClr val="00D7A0"/>
              </a:buClr>
              <a:buFont typeface="Segoe UI Symbol" panose="020B0502040204020203" pitchFamily="34" charset="0"/>
              <a:buChar char="✔"/>
              <a:defRPr/>
            </a:pPr>
            <a:r>
              <a:rPr lang="en-US" sz="1198" dirty="0">
                <a:solidFill>
                  <a:srgbClr val="FFFFFF"/>
                </a:solidFill>
                <a:latin typeface="Arial"/>
                <a:ea typeface="Arial Unicode MS" panose="020B0604020202020204" pitchFamily="34" charset="-128"/>
                <a:cs typeface="Arial Unicode MS" panose="020B0604020202020204" pitchFamily="34" charset="-128"/>
              </a:rPr>
              <a:t>Reduction in injury rate</a:t>
            </a:r>
          </a:p>
        </p:txBody>
      </p:sp>
      <p:cxnSp>
        <p:nvCxnSpPr>
          <p:cNvPr id="10" name="Gerade Verbindung 70">
            <a:extLst>
              <a:ext uri="{FF2B5EF4-FFF2-40B4-BE49-F238E27FC236}">
                <a16:creationId xmlns:a16="http://schemas.microsoft.com/office/drawing/2014/main" id="{6D2F77D3-A36D-4B6D-A7B3-480514BC6B8A}"/>
              </a:ext>
            </a:extLst>
          </p:cNvPr>
          <p:cNvCxnSpPr>
            <a:cxnSpLocks/>
          </p:cNvCxnSpPr>
          <p:nvPr/>
        </p:nvCxnSpPr>
        <p:spPr bwMode="gray">
          <a:xfrm>
            <a:off x="413575" y="4834838"/>
            <a:ext cx="11376784" cy="0"/>
          </a:xfrm>
          <a:prstGeom prst="line">
            <a:avLst/>
          </a:prstGeom>
          <a:noFill/>
          <a:ln w="9525">
            <a:solidFill>
              <a:srgbClr val="66667E"/>
            </a:solidFill>
          </a:ln>
        </p:spPr>
        <p:style>
          <a:lnRef idx="2">
            <a:schemeClr val="accent1">
              <a:shade val="50000"/>
            </a:schemeClr>
          </a:lnRef>
          <a:fillRef idx="1">
            <a:schemeClr val="accent1"/>
          </a:fillRef>
          <a:effectRef idx="0">
            <a:schemeClr val="accent1"/>
          </a:effectRef>
          <a:fontRef idx="minor">
            <a:schemeClr val="lt1"/>
          </a:fontRef>
        </p:style>
      </p:cxnSp>
      <p:cxnSp>
        <p:nvCxnSpPr>
          <p:cNvPr id="11" name="Gerade Verbindung 8">
            <a:extLst>
              <a:ext uri="{FF2B5EF4-FFF2-40B4-BE49-F238E27FC236}">
                <a16:creationId xmlns:a16="http://schemas.microsoft.com/office/drawing/2014/main" id="{11C2062A-1065-49FB-8D00-F8D94FB36211}"/>
              </a:ext>
            </a:extLst>
          </p:cNvPr>
          <p:cNvCxnSpPr>
            <a:cxnSpLocks/>
          </p:cNvCxnSpPr>
          <p:nvPr/>
        </p:nvCxnSpPr>
        <p:spPr bwMode="gray">
          <a:xfrm>
            <a:off x="413579" y="2128919"/>
            <a:ext cx="11376785" cy="0"/>
          </a:xfrm>
          <a:prstGeom prst="line">
            <a:avLst/>
          </a:prstGeom>
          <a:noFill/>
          <a:ln w="9525">
            <a:solidFill>
              <a:srgbClr val="66667E"/>
            </a:solidFill>
          </a:ln>
        </p:spPr>
        <p:style>
          <a:lnRef idx="2">
            <a:schemeClr val="accent1">
              <a:shade val="50000"/>
            </a:schemeClr>
          </a:lnRef>
          <a:fillRef idx="1">
            <a:schemeClr val="accent1"/>
          </a:fillRef>
          <a:effectRef idx="0">
            <a:schemeClr val="accent1"/>
          </a:effectRef>
          <a:fontRef idx="minor">
            <a:schemeClr val="lt1"/>
          </a:fontRef>
        </p:style>
      </p:cxnSp>
      <p:sp>
        <p:nvSpPr>
          <p:cNvPr id="12" name="Rectangle 5">
            <a:extLst>
              <a:ext uri="{FF2B5EF4-FFF2-40B4-BE49-F238E27FC236}">
                <a16:creationId xmlns:a16="http://schemas.microsoft.com/office/drawing/2014/main" id="{F97BAF3F-8DD7-4619-86CD-3D25012C4052}"/>
              </a:ext>
            </a:extLst>
          </p:cNvPr>
          <p:cNvSpPr>
            <a:spLocks noChangeAspect="1"/>
          </p:cNvSpPr>
          <p:nvPr/>
        </p:nvSpPr>
        <p:spPr bwMode="gray">
          <a:xfrm>
            <a:off x="2251994" y="1462515"/>
            <a:ext cx="3131457" cy="553323"/>
          </a:xfrm>
          <a:prstGeom prst="rect">
            <a:avLst/>
          </a:prstGeom>
          <a:noFill/>
          <a:ln w="28575">
            <a:noFill/>
          </a:ln>
          <a:effectLst/>
        </p:spPr>
        <p:txBody>
          <a:bodyPr wrap="square" lIns="144000" tIns="0" rIns="107720" bIns="0" numCol="1" spcCol="72000" rtlCol="0" anchor="ctr">
            <a:noAutofit/>
          </a:bodyPr>
          <a:lstStyle/>
          <a:p>
            <a:pPr defTabSz="913486" fontAlgn="auto">
              <a:spcBef>
                <a:spcPts val="0"/>
              </a:spcBef>
              <a:spcAft>
                <a:spcPts val="0"/>
              </a:spcAft>
              <a:buClr>
                <a:srgbClr val="879BAA"/>
              </a:buClr>
              <a:buSzPct val="100000"/>
              <a:defRPr/>
            </a:pPr>
            <a:r>
              <a:rPr lang="en-US" sz="1197" dirty="0">
                <a:solidFill>
                  <a:prstClr val="white"/>
                </a:solidFill>
                <a:latin typeface="Arial"/>
                <a:ea typeface="ＭＳ Ｐゴシック"/>
                <a:cs typeface="Arial"/>
              </a:rPr>
              <a:t>Silos of data, hard to find, </a:t>
            </a:r>
            <a:br>
              <a:rPr lang="en-US" sz="1197" dirty="0">
                <a:solidFill>
                  <a:prstClr val="white"/>
                </a:solidFill>
                <a:latin typeface="Arial"/>
                <a:ea typeface="ＭＳ Ｐゴシック"/>
                <a:cs typeface="Arial"/>
              </a:rPr>
            </a:br>
            <a:r>
              <a:rPr lang="en-US" sz="1197" dirty="0">
                <a:solidFill>
                  <a:prstClr val="white"/>
                </a:solidFill>
                <a:latin typeface="Arial"/>
                <a:ea typeface="ＭＳ Ｐゴシック"/>
                <a:cs typeface="Arial"/>
              </a:rPr>
              <a:t>validate, organize and </a:t>
            </a:r>
            <a:r>
              <a:rPr lang="en-US" sz="1197">
                <a:solidFill>
                  <a:prstClr val="white"/>
                </a:solidFill>
                <a:latin typeface="Arial"/>
                <a:ea typeface="ＭＳ Ｐゴシック"/>
                <a:cs typeface="Arial"/>
              </a:rPr>
              <a:t>use.</a:t>
            </a:r>
            <a:endParaRPr lang="en-US" sz="1197" dirty="0">
              <a:solidFill>
                <a:prstClr val="white"/>
              </a:solidFill>
              <a:latin typeface="Arial"/>
              <a:ea typeface="ＭＳ Ｐゴシック"/>
              <a:cs typeface="Arial"/>
            </a:endParaRPr>
          </a:p>
        </p:txBody>
      </p:sp>
      <p:sp>
        <p:nvSpPr>
          <p:cNvPr id="13" name="Rectangle 3">
            <a:extLst>
              <a:ext uri="{FF2B5EF4-FFF2-40B4-BE49-F238E27FC236}">
                <a16:creationId xmlns:a16="http://schemas.microsoft.com/office/drawing/2014/main" id="{D9441301-27C9-4D18-B2A6-7942D0897751}"/>
              </a:ext>
            </a:extLst>
          </p:cNvPr>
          <p:cNvSpPr>
            <a:spLocks/>
          </p:cNvSpPr>
          <p:nvPr/>
        </p:nvSpPr>
        <p:spPr bwMode="gray">
          <a:xfrm>
            <a:off x="2251994" y="2242673"/>
            <a:ext cx="3131457" cy="2478408"/>
          </a:xfrm>
          <a:prstGeom prst="rect">
            <a:avLst/>
          </a:prstGeom>
          <a:gradFill>
            <a:gsLst>
              <a:gs pos="0">
                <a:schemeClr val="tx1">
                  <a:alpha val="25000"/>
                </a:schemeClr>
              </a:gs>
              <a:gs pos="100000">
                <a:schemeClr val="tx1">
                  <a:alpha val="0"/>
                </a:schemeClr>
              </a:gs>
            </a:gsLst>
            <a:lin ang="5400000" scaled="1"/>
          </a:gradFill>
          <a:ln>
            <a:noFill/>
          </a:ln>
          <a:effectLst/>
        </p:spPr>
        <p:txBody>
          <a:bodyPr wrap="square" lIns="144000" tIns="72000" rIns="144000" bIns="71889" numCol="1" spcCol="72000" rtlCol="0" anchor="t">
            <a:noAutofit/>
          </a:bodyPr>
          <a:lstStyle/>
          <a:p>
            <a:pPr defTabSz="913486" fontAlgn="auto">
              <a:lnSpc>
                <a:spcPct val="110000"/>
              </a:lnSpc>
              <a:spcBef>
                <a:spcPct val="0"/>
              </a:spcBef>
              <a:spcAft>
                <a:spcPts val="0"/>
              </a:spcAft>
              <a:defRPr/>
            </a:pPr>
            <a:r>
              <a:rPr lang="en-US" sz="1600" dirty="0">
                <a:solidFill>
                  <a:srgbClr val="00D7A0"/>
                </a:solidFill>
                <a:latin typeface="Arial"/>
              </a:rPr>
              <a:t>Consolidate</a:t>
            </a:r>
          </a:p>
          <a:p>
            <a:pPr defTabSz="913486" fontAlgn="auto">
              <a:lnSpc>
                <a:spcPct val="110000"/>
              </a:lnSpc>
              <a:spcBef>
                <a:spcPct val="0"/>
              </a:spcBef>
              <a:spcAft>
                <a:spcPts val="0"/>
              </a:spcAft>
              <a:defRPr/>
            </a:pPr>
            <a:r>
              <a:rPr lang="en-US" sz="1197" dirty="0">
                <a:solidFill>
                  <a:prstClr val="white"/>
                </a:solidFill>
              </a:rPr>
              <a:t>Controlled data handover to establish the Evergreen Digital Twin with aggregated, connected and contextualized information.</a:t>
            </a:r>
          </a:p>
        </p:txBody>
      </p:sp>
      <p:sp>
        <p:nvSpPr>
          <p:cNvPr id="14" name="Rechteck 13">
            <a:extLst>
              <a:ext uri="{FF2B5EF4-FFF2-40B4-BE49-F238E27FC236}">
                <a16:creationId xmlns:a16="http://schemas.microsoft.com/office/drawing/2014/main" id="{61519394-D907-4EAD-ABD7-090CBDF06937}"/>
              </a:ext>
            </a:extLst>
          </p:cNvPr>
          <p:cNvSpPr>
            <a:spLocks/>
          </p:cNvSpPr>
          <p:nvPr/>
        </p:nvSpPr>
        <p:spPr>
          <a:xfrm>
            <a:off x="8943057" y="5405849"/>
            <a:ext cx="2177698" cy="520655"/>
          </a:xfrm>
          <a:prstGeom prst="rect">
            <a:avLst/>
          </a:prstGeom>
          <a:noFill/>
          <a:ln>
            <a:noFill/>
          </a:ln>
          <a:effectLst/>
        </p:spPr>
        <p:txBody>
          <a:bodyPr wrap="square" lIns="0" tIns="0" rIns="0" bIns="0" numCol="1" spcCol="72000" rtlCol="0" anchor="t">
            <a:spAutoFit/>
          </a:bodyPr>
          <a:lstStyle/>
          <a:p>
            <a:pPr defTabSz="913486" fontAlgn="auto">
              <a:lnSpc>
                <a:spcPct val="110000"/>
              </a:lnSpc>
              <a:spcBef>
                <a:spcPct val="0"/>
              </a:spcBef>
              <a:spcAft>
                <a:spcPts val="0"/>
              </a:spcAft>
            </a:pPr>
            <a:r>
              <a:rPr lang="en-US" sz="1600" dirty="0">
                <a:solidFill>
                  <a:srgbClr val="00D7A0"/>
                </a:solidFill>
                <a:latin typeface="Arial"/>
              </a:rPr>
              <a:t>Increased safety and optimized production</a:t>
            </a:r>
          </a:p>
        </p:txBody>
      </p:sp>
      <p:sp>
        <p:nvSpPr>
          <p:cNvPr id="15" name="Arrow: Right 35">
            <a:extLst>
              <a:ext uri="{FF2B5EF4-FFF2-40B4-BE49-F238E27FC236}">
                <a16:creationId xmlns:a16="http://schemas.microsoft.com/office/drawing/2014/main" id="{8F364C35-F848-4C8E-A008-74C37F4EDAF2}"/>
              </a:ext>
            </a:extLst>
          </p:cNvPr>
          <p:cNvSpPr>
            <a:spLocks/>
          </p:cNvSpPr>
          <p:nvPr/>
        </p:nvSpPr>
        <p:spPr bwMode="auto">
          <a:xfrm>
            <a:off x="407988" y="1433233"/>
            <a:ext cx="1783399" cy="611214"/>
          </a:xfrm>
          <a:prstGeom prst="homePlate">
            <a:avLst>
              <a:gd name="adj" fmla="val 33212"/>
            </a:avLst>
          </a:prstGeom>
          <a:gradFill flip="none" rotWithShape="1">
            <a:gsLst>
              <a:gs pos="14000">
                <a:schemeClr val="accent2"/>
              </a:gs>
              <a:gs pos="100000">
                <a:schemeClr val="accent2">
                  <a:alpha val="0"/>
                </a:schemeClr>
              </a:gs>
            </a:gsLst>
            <a:lin ang="10800000" scaled="1"/>
            <a:tileRect/>
          </a:gradFill>
          <a:ln w="38100">
            <a:noFill/>
            <a:miter lim="800000"/>
            <a:headEnd/>
            <a:tailEnd/>
          </a:ln>
          <a:effectLst/>
        </p:spPr>
        <p:txBody>
          <a:bodyPr wrap="square" lIns="107776" tIns="53888" rIns="107776" bIns="53888" numCol="1" spcCol="72000" rtlCol="0" anchor="ctr">
            <a:noAutofit/>
          </a:bodyPr>
          <a:lstStyle/>
          <a:p>
            <a:pPr defTabSz="913029">
              <a:defRPr/>
            </a:pPr>
            <a:r>
              <a:rPr lang="en-US" sz="1600" dirty="0">
                <a:solidFill>
                  <a:prstClr val="white"/>
                </a:solidFill>
                <a:latin typeface="Arial"/>
                <a:ea typeface="ＭＳ Ｐゴシック"/>
                <a:cs typeface="Arial"/>
              </a:rPr>
              <a:t>Challenges</a:t>
            </a:r>
            <a:br>
              <a:rPr lang="en-US" sz="1600" dirty="0">
                <a:solidFill>
                  <a:prstClr val="white"/>
                </a:solidFill>
                <a:latin typeface="Arial"/>
                <a:ea typeface="ＭＳ Ｐゴシック"/>
                <a:cs typeface="Arial"/>
              </a:rPr>
            </a:br>
            <a:r>
              <a:rPr lang="en-US" sz="1600" dirty="0">
                <a:solidFill>
                  <a:prstClr val="white"/>
                </a:solidFill>
                <a:latin typeface="Arial"/>
                <a:ea typeface="ＭＳ Ｐゴシック"/>
                <a:cs typeface="Arial"/>
              </a:rPr>
              <a:t>today</a:t>
            </a:r>
          </a:p>
        </p:txBody>
      </p:sp>
      <p:sp>
        <p:nvSpPr>
          <p:cNvPr id="25" name="Rounded Rectangle 15">
            <a:extLst>
              <a:ext uri="{FF2B5EF4-FFF2-40B4-BE49-F238E27FC236}">
                <a16:creationId xmlns:a16="http://schemas.microsoft.com/office/drawing/2014/main" id="{22BB2BB4-6D6C-4789-BEB7-63BFB3BAADE5}"/>
              </a:ext>
            </a:extLst>
          </p:cNvPr>
          <p:cNvSpPr>
            <a:spLocks/>
          </p:cNvSpPr>
          <p:nvPr/>
        </p:nvSpPr>
        <p:spPr bwMode="gray">
          <a:xfrm>
            <a:off x="407987" y="4834838"/>
            <a:ext cx="1574966" cy="763644"/>
          </a:xfrm>
          <a:prstGeom prst="rect">
            <a:avLst/>
          </a:prstGeom>
          <a:noFill/>
          <a:ln>
            <a:noFill/>
          </a:ln>
          <a:effectLst/>
        </p:spPr>
        <p:txBody>
          <a:bodyPr wrap="square" lIns="0" tIns="72000" rIns="144000" bIns="71889" numCol="1" spcCol="72000" rtlCol="0" anchor="t">
            <a:noAutofit/>
          </a:bodyPr>
          <a:lstStyle/>
          <a:p>
            <a:pPr defTabSz="913486" fontAlgn="auto">
              <a:lnSpc>
                <a:spcPct val="110000"/>
              </a:lnSpc>
              <a:spcBef>
                <a:spcPct val="0"/>
              </a:spcBef>
              <a:spcAft>
                <a:spcPts val="0"/>
              </a:spcAft>
            </a:pPr>
            <a:r>
              <a:rPr lang="en-US" sz="1600">
                <a:solidFill>
                  <a:prstClr val="white"/>
                </a:solidFill>
                <a:latin typeface="Arial"/>
              </a:rPr>
              <a:t>Benefits</a:t>
            </a:r>
            <a:endParaRPr lang="en-US" sz="1600" dirty="0">
              <a:solidFill>
                <a:prstClr val="white"/>
              </a:solidFill>
              <a:latin typeface="Arial"/>
            </a:endParaRPr>
          </a:p>
        </p:txBody>
      </p:sp>
      <p:sp>
        <p:nvSpPr>
          <p:cNvPr id="26" name="Rounded Rectangle 12">
            <a:extLst>
              <a:ext uri="{FF2B5EF4-FFF2-40B4-BE49-F238E27FC236}">
                <a16:creationId xmlns:a16="http://schemas.microsoft.com/office/drawing/2014/main" id="{DD767AB0-01F6-48CB-AE46-9011992257E5}"/>
              </a:ext>
            </a:extLst>
          </p:cNvPr>
          <p:cNvSpPr>
            <a:spLocks/>
          </p:cNvSpPr>
          <p:nvPr/>
        </p:nvSpPr>
        <p:spPr bwMode="gray">
          <a:xfrm>
            <a:off x="407987" y="2242674"/>
            <a:ext cx="1574966" cy="658505"/>
          </a:xfrm>
          <a:prstGeom prst="rect">
            <a:avLst/>
          </a:prstGeom>
          <a:noFill/>
          <a:ln>
            <a:noFill/>
          </a:ln>
          <a:effectLst/>
        </p:spPr>
        <p:txBody>
          <a:bodyPr wrap="square" lIns="0" tIns="72000" rIns="144000" bIns="71889" numCol="1" spcCol="72000" rtlCol="0" anchor="t">
            <a:noAutofit/>
          </a:bodyPr>
          <a:lstStyle/>
          <a:p>
            <a:pPr defTabSz="913486" fontAlgn="auto">
              <a:lnSpc>
                <a:spcPct val="110000"/>
              </a:lnSpc>
              <a:spcBef>
                <a:spcPct val="0"/>
              </a:spcBef>
              <a:spcAft>
                <a:spcPts val="0"/>
              </a:spcAft>
            </a:pPr>
            <a:r>
              <a:rPr lang="en-US" sz="1600">
                <a:solidFill>
                  <a:prstClr val="white"/>
                </a:solidFill>
                <a:latin typeface="Arial"/>
              </a:rPr>
              <a:t>Value Proposition</a:t>
            </a:r>
            <a:endParaRPr lang="en-US" sz="1600" dirty="0">
              <a:solidFill>
                <a:prstClr val="white"/>
              </a:solidFill>
              <a:latin typeface="Arial"/>
            </a:endParaRPr>
          </a:p>
        </p:txBody>
      </p:sp>
      <p:cxnSp>
        <p:nvCxnSpPr>
          <p:cNvPr id="29" name="Gerader Verbinder 28">
            <a:extLst>
              <a:ext uri="{FF2B5EF4-FFF2-40B4-BE49-F238E27FC236}">
                <a16:creationId xmlns:a16="http://schemas.microsoft.com/office/drawing/2014/main" id="{E587D953-3A21-4444-9D36-6EEED5246C44}"/>
              </a:ext>
            </a:extLst>
          </p:cNvPr>
          <p:cNvCxnSpPr>
            <a:cxnSpLocks/>
          </p:cNvCxnSpPr>
          <p:nvPr/>
        </p:nvCxnSpPr>
        <p:spPr>
          <a:xfrm flipV="1">
            <a:off x="8622907" y="1462514"/>
            <a:ext cx="0" cy="552652"/>
          </a:xfrm>
          <a:prstGeom prst="line">
            <a:avLst/>
          </a:prstGeom>
          <a:noFill/>
          <a:ln w="9525">
            <a:solidFill>
              <a:srgbClr val="66667E"/>
            </a:solidFill>
          </a:ln>
        </p:spPr>
        <p:style>
          <a:lnRef idx="2">
            <a:schemeClr val="accent1">
              <a:shade val="50000"/>
            </a:schemeClr>
          </a:lnRef>
          <a:fillRef idx="1">
            <a:schemeClr val="accent1"/>
          </a:fillRef>
          <a:effectRef idx="0">
            <a:schemeClr val="accent1"/>
          </a:effectRef>
          <a:fontRef idx="minor">
            <a:schemeClr val="lt1"/>
          </a:fontRef>
        </p:style>
      </p:cxnSp>
      <p:cxnSp>
        <p:nvCxnSpPr>
          <p:cNvPr id="30" name="Gerader Verbinder 29">
            <a:extLst>
              <a:ext uri="{FF2B5EF4-FFF2-40B4-BE49-F238E27FC236}">
                <a16:creationId xmlns:a16="http://schemas.microsoft.com/office/drawing/2014/main" id="{A5572E5E-5EAD-4953-A17D-31FA50D1CD0A}"/>
              </a:ext>
            </a:extLst>
          </p:cNvPr>
          <p:cNvCxnSpPr>
            <a:cxnSpLocks/>
          </p:cNvCxnSpPr>
          <p:nvPr/>
        </p:nvCxnSpPr>
        <p:spPr>
          <a:xfrm flipV="1">
            <a:off x="5419450" y="1462514"/>
            <a:ext cx="0" cy="552652"/>
          </a:xfrm>
          <a:prstGeom prst="line">
            <a:avLst/>
          </a:prstGeom>
          <a:noFill/>
          <a:ln w="9525">
            <a:solidFill>
              <a:srgbClr val="66667E"/>
            </a:solidFill>
          </a:ln>
        </p:spPr>
        <p:style>
          <a:lnRef idx="2">
            <a:schemeClr val="accent1">
              <a:shade val="50000"/>
            </a:schemeClr>
          </a:lnRef>
          <a:fillRef idx="1">
            <a:schemeClr val="accent1"/>
          </a:fillRef>
          <a:effectRef idx="0">
            <a:schemeClr val="accent1"/>
          </a:effectRef>
          <a:fontRef idx="minor">
            <a:schemeClr val="lt1"/>
          </a:fontRef>
        </p:style>
      </p:cxnSp>
      <p:pic>
        <p:nvPicPr>
          <p:cNvPr id="31" name="Picture 174">
            <a:extLst>
              <a:ext uri="{FF2B5EF4-FFF2-40B4-BE49-F238E27FC236}">
                <a16:creationId xmlns:a16="http://schemas.microsoft.com/office/drawing/2014/main" id="{0D57BEF1-A10F-4019-94BC-46F77A024D3A}"/>
              </a:ext>
            </a:extLst>
          </p:cNvPr>
          <p:cNvPicPr preferRelativeResize="0">
            <a:picLocks noChangeAspect="1"/>
          </p:cNvPicPr>
          <p:nvPr/>
        </p:nvPicPr>
        <p:blipFill rotWithShape="1">
          <a:blip r:embed="rId7"/>
          <a:stretch/>
        </p:blipFill>
        <p:spPr>
          <a:xfrm>
            <a:off x="5783150" y="3321054"/>
            <a:ext cx="2476059" cy="1319786"/>
          </a:xfrm>
          <a:prstGeom prst="rect">
            <a:avLst/>
          </a:prstGeom>
        </p:spPr>
      </p:pic>
      <p:pic>
        <p:nvPicPr>
          <p:cNvPr id="32" name="Picture 2">
            <a:extLst>
              <a:ext uri="{FF2B5EF4-FFF2-40B4-BE49-F238E27FC236}">
                <a16:creationId xmlns:a16="http://schemas.microsoft.com/office/drawing/2014/main" id="{C7536DD5-1361-4365-8042-D353319835F3}"/>
              </a:ext>
            </a:extLst>
          </p:cNvPr>
          <p:cNvPicPr>
            <a:picLocks noChangeAspect="1" noChangeArrowheads="1"/>
          </p:cNvPicPr>
          <p:nvPr/>
        </p:nvPicPr>
        <p:blipFill>
          <a:blip r:embed="rId8">
            <a:clrChange>
              <a:clrFrom>
                <a:srgbClr val="000000">
                  <a:alpha val="0"/>
                </a:srgbClr>
              </a:clrFrom>
              <a:clrTo>
                <a:srgbClr val="000000">
                  <a:alpha val="0"/>
                </a:srgbClr>
              </a:clrTo>
            </a:clrChange>
          </a:blip>
          <a:srcRect/>
          <a:stretch/>
        </p:blipFill>
        <p:spPr bwMode="gray">
          <a:xfrm>
            <a:off x="9003667" y="3321054"/>
            <a:ext cx="2441937" cy="1319786"/>
          </a:xfrm>
          <a:prstGeom prst="rect">
            <a:avLst/>
          </a:prstGeom>
          <a:noFill/>
          <a:ln w="9525">
            <a:noFill/>
            <a:miter lim="800000"/>
            <a:headEnd/>
            <a:tailEnd/>
          </a:ln>
          <a:effectLst/>
        </p:spPr>
      </p:pic>
      <p:grpSp>
        <p:nvGrpSpPr>
          <p:cNvPr id="34" name="Gruppieren 33">
            <a:extLst>
              <a:ext uri="{FF2B5EF4-FFF2-40B4-BE49-F238E27FC236}">
                <a16:creationId xmlns:a16="http://schemas.microsoft.com/office/drawing/2014/main" id="{A80B96D6-98FB-4222-91A8-8AA708BC04AA}"/>
              </a:ext>
            </a:extLst>
          </p:cNvPr>
          <p:cNvGrpSpPr>
            <a:grpSpLocks/>
          </p:cNvGrpSpPr>
          <p:nvPr/>
        </p:nvGrpSpPr>
        <p:grpSpPr>
          <a:xfrm>
            <a:off x="2408758" y="3411514"/>
            <a:ext cx="2817928" cy="1173697"/>
            <a:chOff x="5321339" y="3280624"/>
            <a:chExt cx="3541901" cy="1475241"/>
          </a:xfrm>
        </p:grpSpPr>
        <p:grpSp>
          <p:nvGrpSpPr>
            <p:cNvPr id="35" name="Gruppieren 34">
              <a:extLst>
                <a:ext uri="{FF2B5EF4-FFF2-40B4-BE49-F238E27FC236}">
                  <a16:creationId xmlns:a16="http://schemas.microsoft.com/office/drawing/2014/main" id="{3119E892-C9B3-4CB4-AF26-BF97F3BDC353}"/>
                </a:ext>
              </a:extLst>
            </p:cNvPr>
            <p:cNvGrpSpPr/>
            <p:nvPr/>
          </p:nvGrpSpPr>
          <p:grpSpPr>
            <a:xfrm>
              <a:off x="6086488" y="3280624"/>
              <a:ext cx="1997446" cy="1475241"/>
              <a:chOff x="3562343" y="1927468"/>
              <a:chExt cx="5358438" cy="3957547"/>
            </a:xfrm>
          </p:grpSpPr>
          <p:pic>
            <p:nvPicPr>
              <p:cNvPr id="52" name="Graphic 9">
                <a:extLst>
                  <a:ext uri="{FF2B5EF4-FFF2-40B4-BE49-F238E27FC236}">
                    <a16:creationId xmlns:a16="http://schemas.microsoft.com/office/drawing/2014/main" id="{74352413-9BD5-4ADF-9D21-D559D287DFB8}"/>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562343" y="2439300"/>
                <a:ext cx="5358438" cy="3445715"/>
              </a:xfrm>
              <a:prstGeom prst="rect">
                <a:avLst/>
              </a:prstGeom>
              <a:effectLst/>
            </p:spPr>
          </p:pic>
          <p:pic>
            <p:nvPicPr>
              <p:cNvPr id="53" name="Graphic 4">
                <a:extLst>
                  <a:ext uri="{FF2B5EF4-FFF2-40B4-BE49-F238E27FC236}">
                    <a16:creationId xmlns:a16="http://schemas.microsoft.com/office/drawing/2014/main" id="{B647E325-8856-4B1F-8C8A-475F3BE64F0C}"/>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554483" y="1927468"/>
                <a:ext cx="3002306" cy="3298735"/>
              </a:xfrm>
              <a:prstGeom prst="rect">
                <a:avLst/>
              </a:prstGeom>
              <a:effectLst/>
            </p:spPr>
          </p:pic>
        </p:grpSp>
        <p:sp>
          <p:nvSpPr>
            <p:cNvPr id="37" name="Pfeil: nach rechts 36">
              <a:extLst>
                <a:ext uri="{FF2B5EF4-FFF2-40B4-BE49-F238E27FC236}">
                  <a16:creationId xmlns:a16="http://schemas.microsoft.com/office/drawing/2014/main" id="{E86ABBD8-C770-44D3-902D-288F34223C2E}"/>
                </a:ext>
              </a:extLst>
            </p:cNvPr>
            <p:cNvSpPr>
              <a:spLocks/>
            </p:cNvSpPr>
            <p:nvPr/>
          </p:nvSpPr>
          <p:spPr bwMode="auto">
            <a:xfrm flipH="1">
              <a:off x="7625320" y="3593928"/>
              <a:ext cx="1237920" cy="1031729"/>
            </a:xfrm>
            <a:prstGeom prst="rightArrow">
              <a:avLst>
                <a:gd name="adj1" fmla="val 100000"/>
                <a:gd name="adj2" fmla="val 23051"/>
              </a:avLst>
            </a:prstGeom>
            <a:gradFill flip="none" rotWithShape="1">
              <a:gsLst>
                <a:gs pos="14000">
                  <a:schemeClr val="accent2"/>
                </a:gs>
                <a:gs pos="100000">
                  <a:schemeClr val="accent2">
                    <a:alpha val="0"/>
                  </a:schemeClr>
                </a:gs>
              </a:gsLst>
              <a:lin ang="10800000" scaled="1"/>
              <a:tileRect/>
            </a:gradFill>
            <a:ln w="38100">
              <a:noFill/>
              <a:miter lim="800000"/>
              <a:headEnd/>
              <a:tailEnd/>
            </a:ln>
            <a:effectLst/>
          </p:spPr>
          <p:txBody>
            <a:bodyPr wrap="square" lIns="0" tIns="53888" rIns="0" bIns="53888" numCol="1" spcCol="72000" rtlCol="0" anchor="t">
              <a:noAutofit/>
            </a:bodyPr>
            <a:lstStyle/>
            <a:p>
              <a:pPr defTabSz="913029"/>
              <a:r>
                <a:rPr lang="en-US" sz="800" b="1" dirty="0">
                  <a:solidFill>
                    <a:prstClr val="white"/>
                  </a:solidFill>
                  <a:latin typeface="Arial"/>
                  <a:ea typeface="+mn-ea"/>
                </a:rPr>
                <a:t>  Dynamic Data</a:t>
              </a:r>
            </a:p>
          </p:txBody>
        </p:sp>
        <p:sp>
          <p:nvSpPr>
            <p:cNvPr id="38" name="Pfeil: nach rechts 37">
              <a:extLst>
                <a:ext uri="{FF2B5EF4-FFF2-40B4-BE49-F238E27FC236}">
                  <a16:creationId xmlns:a16="http://schemas.microsoft.com/office/drawing/2014/main" id="{6D8A0BA4-A337-4C84-BE09-F98BED700C23}"/>
                </a:ext>
              </a:extLst>
            </p:cNvPr>
            <p:cNvSpPr>
              <a:spLocks/>
            </p:cNvSpPr>
            <p:nvPr/>
          </p:nvSpPr>
          <p:spPr bwMode="auto">
            <a:xfrm>
              <a:off x="5321339" y="3593928"/>
              <a:ext cx="1237920" cy="1031729"/>
            </a:xfrm>
            <a:prstGeom prst="rightArrow">
              <a:avLst>
                <a:gd name="adj1" fmla="val 100000"/>
                <a:gd name="adj2" fmla="val 25004"/>
              </a:avLst>
            </a:prstGeom>
            <a:gradFill flip="none" rotWithShape="1">
              <a:gsLst>
                <a:gs pos="14000">
                  <a:schemeClr val="accent2"/>
                </a:gs>
                <a:gs pos="100000">
                  <a:schemeClr val="accent2">
                    <a:alpha val="0"/>
                  </a:schemeClr>
                </a:gs>
              </a:gsLst>
              <a:lin ang="10800000" scaled="1"/>
              <a:tileRect/>
            </a:gradFill>
            <a:ln w="38100">
              <a:noFill/>
              <a:miter lim="800000"/>
              <a:headEnd/>
              <a:tailEnd/>
            </a:ln>
            <a:effectLst/>
          </p:spPr>
          <p:txBody>
            <a:bodyPr wrap="square" lIns="107776" tIns="53888" rIns="0" bIns="53888" numCol="1" spcCol="72000" rtlCol="0" anchor="t">
              <a:noAutofit/>
            </a:bodyPr>
            <a:lstStyle/>
            <a:p>
              <a:pPr defTabSz="913029"/>
              <a:r>
                <a:rPr lang="en-US" sz="800" b="1" dirty="0">
                  <a:solidFill>
                    <a:prstClr val="white"/>
                  </a:solidFill>
                  <a:latin typeface="Arial"/>
                  <a:ea typeface="+mn-ea"/>
                </a:rPr>
                <a:t>Static Data</a:t>
              </a:r>
            </a:p>
          </p:txBody>
        </p:sp>
        <p:sp>
          <p:nvSpPr>
            <p:cNvPr id="40" name="Ellipse 27">
              <a:extLst>
                <a:ext uri="{FF2B5EF4-FFF2-40B4-BE49-F238E27FC236}">
                  <a16:creationId xmlns:a16="http://schemas.microsoft.com/office/drawing/2014/main" id="{E549897C-FEC5-4256-A8C7-070E7139BA8D}"/>
                </a:ext>
              </a:extLst>
            </p:cNvPr>
            <p:cNvSpPr>
              <a:spLocks/>
            </p:cNvSpPr>
            <p:nvPr/>
          </p:nvSpPr>
          <p:spPr bwMode="gray">
            <a:xfrm>
              <a:off x="5536921" y="3833397"/>
              <a:ext cx="313005" cy="313005"/>
            </a:xfrm>
            <a:prstGeom prst="ellipse">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defRPr/>
              </a:pPr>
              <a:r>
                <a:rPr lang="en-US" sz="600" dirty="0">
                  <a:solidFill>
                    <a:srgbClr val="000028"/>
                  </a:solidFill>
                </a:rPr>
                <a:t>1D</a:t>
              </a:r>
            </a:p>
          </p:txBody>
        </p:sp>
        <p:sp>
          <p:nvSpPr>
            <p:cNvPr id="41" name="Ellipse 28">
              <a:extLst>
                <a:ext uri="{FF2B5EF4-FFF2-40B4-BE49-F238E27FC236}">
                  <a16:creationId xmlns:a16="http://schemas.microsoft.com/office/drawing/2014/main" id="{FA9E66B2-78B0-485F-A780-DF4F9AA06475}"/>
                </a:ext>
              </a:extLst>
            </p:cNvPr>
            <p:cNvSpPr>
              <a:spLocks/>
            </p:cNvSpPr>
            <p:nvPr/>
          </p:nvSpPr>
          <p:spPr bwMode="gray">
            <a:xfrm>
              <a:off x="5922155" y="3878486"/>
              <a:ext cx="321467" cy="321466"/>
            </a:xfrm>
            <a:prstGeom prst="ellipse">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defRPr/>
              </a:pPr>
              <a:r>
                <a:rPr lang="en-US" sz="600" dirty="0">
                  <a:solidFill>
                    <a:srgbClr val="000028"/>
                  </a:solidFill>
                </a:rPr>
                <a:t>2D</a:t>
              </a:r>
            </a:p>
          </p:txBody>
        </p:sp>
        <p:sp>
          <p:nvSpPr>
            <p:cNvPr id="43" name="Ellipse 29">
              <a:extLst>
                <a:ext uri="{FF2B5EF4-FFF2-40B4-BE49-F238E27FC236}">
                  <a16:creationId xmlns:a16="http://schemas.microsoft.com/office/drawing/2014/main" id="{39BA58E0-0669-4943-A2E8-53ED23791381}"/>
                </a:ext>
              </a:extLst>
            </p:cNvPr>
            <p:cNvSpPr>
              <a:spLocks/>
            </p:cNvSpPr>
            <p:nvPr/>
          </p:nvSpPr>
          <p:spPr bwMode="gray">
            <a:xfrm>
              <a:off x="5825756" y="4283427"/>
              <a:ext cx="309252" cy="309252"/>
            </a:xfrm>
            <a:prstGeom prst="ellipse">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3943">
                <a:defRPr/>
              </a:pPr>
              <a:r>
                <a:rPr lang="en-US" sz="600" dirty="0">
                  <a:solidFill>
                    <a:srgbClr val="000028"/>
                  </a:solidFill>
                </a:rPr>
                <a:t>3D</a:t>
              </a:r>
            </a:p>
          </p:txBody>
        </p:sp>
        <p:sp>
          <p:nvSpPr>
            <p:cNvPr id="44" name="Ellipse 27">
              <a:extLst>
                <a:ext uri="{FF2B5EF4-FFF2-40B4-BE49-F238E27FC236}">
                  <a16:creationId xmlns:a16="http://schemas.microsoft.com/office/drawing/2014/main" id="{7FB24E00-F453-4152-8297-908892327E86}"/>
                </a:ext>
              </a:extLst>
            </p:cNvPr>
            <p:cNvSpPr>
              <a:spLocks/>
            </p:cNvSpPr>
            <p:nvPr/>
          </p:nvSpPr>
          <p:spPr bwMode="gray">
            <a:xfrm>
              <a:off x="7931704" y="3866695"/>
              <a:ext cx="313005" cy="313005"/>
            </a:xfrm>
            <a:prstGeom prst="ellipse">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600" dirty="0">
                  <a:solidFill>
                    <a:srgbClr val="000028"/>
                  </a:solidFill>
                  <a:latin typeface="Arial"/>
                  <a:ea typeface="+mn-ea"/>
                </a:rPr>
                <a:t>4D</a:t>
              </a:r>
              <a:br>
                <a:rPr lang="en-US" sz="600" dirty="0">
                  <a:solidFill>
                    <a:srgbClr val="000028"/>
                  </a:solidFill>
                  <a:latin typeface="Arial"/>
                  <a:ea typeface="+mn-ea"/>
                </a:rPr>
              </a:br>
              <a:r>
                <a:rPr lang="en-US" sz="600" dirty="0">
                  <a:solidFill>
                    <a:srgbClr val="000028"/>
                  </a:solidFill>
                  <a:latin typeface="Arial"/>
                  <a:ea typeface="+mn-ea"/>
                </a:rPr>
                <a:t>Plan</a:t>
              </a:r>
            </a:p>
          </p:txBody>
        </p:sp>
        <p:sp>
          <p:nvSpPr>
            <p:cNvPr id="46" name="Ellipse 27">
              <a:extLst>
                <a:ext uri="{FF2B5EF4-FFF2-40B4-BE49-F238E27FC236}">
                  <a16:creationId xmlns:a16="http://schemas.microsoft.com/office/drawing/2014/main" id="{F840AB11-E561-400C-89E5-3AB0E8C81545}"/>
                </a:ext>
              </a:extLst>
            </p:cNvPr>
            <p:cNvSpPr>
              <a:spLocks/>
            </p:cNvSpPr>
            <p:nvPr/>
          </p:nvSpPr>
          <p:spPr bwMode="gray">
            <a:xfrm>
              <a:off x="7980065" y="4254621"/>
              <a:ext cx="313005" cy="313005"/>
            </a:xfrm>
            <a:prstGeom prst="ellipse">
              <a:avLst/>
            </a:prstGeom>
            <a:solidFill>
              <a:schemeClr val="accent3"/>
            </a:solidFill>
            <a:ln>
              <a:noFill/>
            </a:ln>
            <a:effectLst/>
          </p:spPr>
          <p:txBody>
            <a:bodyPr rot="0" spcFirstLastPara="0" vertOverflow="overflow" horzOverflow="overflow" vert="horz" wrap="none" lIns="0" tIns="0" rIns="0" bIns="35981" numCol="1" spcCol="0" rtlCol="0" fromWordArt="0" anchor="ctr" anchorCtr="0" forceAA="0" compatLnSpc="1">
              <a:prstTxWarp prst="textNoShape">
                <a:avLst/>
              </a:prstTxWarp>
              <a:noAutofit/>
            </a:bodyPr>
            <a:lstStyle/>
            <a:p>
              <a:pPr algn="ctr" fontAlgn="auto">
                <a:spcBef>
                  <a:spcPts val="0"/>
                </a:spcBef>
                <a:spcAft>
                  <a:spcPts val="0"/>
                </a:spcAft>
              </a:pPr>
              <a:r>
                <a:rPr lang="en-US" sz="600" dirty="0">
                  <a:solidFill>
                    <a:srgbClr val="000028"/>
                  </a:solidFill>
                  <a:latin typeface="Arial"/>
                  <a:ea typeface="+mn-ea"/>
                </a:rPr>
                <a:t>5D</a:t>
              </a:r>
              <a:br>
                <a:rPr lang="en-US" sz="600" dirty="0">
                  <a:solidFill>
                    <a:srgbClr val="000028"/>
                  </a:solidFill>
                  <a:latin typeface="Arial"/>
                  <a:ea typeface="+mn-ea"/>
                </a:rPr>
              </a:br>
              <a:r>
                <a:rPr lang="en-US" sz="600" dirty="0">
                  <a:solidFill>
                    <a:srgbClr val="000028"/>
                  </a:solidFill>
                  <a:latin typeface="Arial"/>
                  <a:ea typeface="+mn-ea"/>
                </a:rPr>
                <a:t>Costs</a:t>
              </a:r>
            </a:p>
          </p:txBody>
        </p:sp>
        <p:sp>
          <p:nvSpPr>
            <p:cNvPr id="47" name="Ellipse 27">
              <a:extLst>
                <a:ext uri="{FF2B5EF4-FFF2-40B4-BE49-F238E27FC236}">
                  <a16:creationId xmlns:a16="http://schemas.microsoft.com/office/drawing/2014/main" id="{A0CC2197-1535-4585-9809-DC358D2AD176}"/>
                </a:ext>
              </a:extLst>
            </p:cNvPr>
            <p:cNvSpPr>
              <a:spLocks/>
            </p:cNvSpPr>
            <p:nvPr/>
          </p:nvSpPr>
          <p:spPr bwMode="gray">
            <a:xfrm>
              <a:off x="8465647" y="4223761"/>
              <a:ext cx="313005" cy="313005"/>
            </a:xfrm>
            <a:prstGeom prst="can">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600" dirty="0">
                  <a:solidFill>
                    <a:srgbClr val="000028"/>
                  </a:solidFill>
                  <a:latin typeface="Arial"/>
                  <a:ea typeface="+mn-ea"/>
                </a:rPr>
                <a:t>ERP</a:t>
              </a:r>
            </a:p>
          </p:txBody>
        </p:sp>
        <p:sp>
          <p:nvSpPr>
            <p:cNvPr id="49" name="Ellipse 27">
              <a:extLst>
                <a:ext uri="{FF2B5EF4-FFF2-40B4-BE49-F238E27FC236}">
                  <a16:creationId xmlns:a16="http://schemas.microsoft.com/office/drawing/2014/main" id="{5AEB549C-48F0-4C4B-BBA2-67B73FBEFAD7}"/>
                </a:ext>
              </a:extLst>
            </p:cNvPr>
            <p:cNvSpPr>
              <a:spLocks/>
            </p:cNvSpPr>
            <p:nvPr/>
          </p:nvSpPr>
          <p:spPr bwMode="gray">
            <a:xfrm>
              <a:off x="8338287" y="3884284"/>
              <a:ext cx="313005" cy="313005"/>
            </a:xfrm>
            <a:prstGeom prst="can">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600" dirty="0">
                  <a:solidFill>
                    <a:srgbClr val="000028"/>
                  </a:solidFill>
                  <a:latin typeface="Arial"/>
                  <a:ea typeface="+mn-ea"/>
                </a:rPr>
                <a:t>Time</a:t>
              </a:r>
              <a:br>
                <a:rPr lang="en-US" sz="600" dirty="0">
                  <a:solidFill>
                    <a:srgbClr val="000028"/>
                  </a:solidFill>
                  <a:latin typeface="Arial"/>
                  <a:ea typeface="+mn-ea"/>
                </a:rPr>
              </a:br>
              <a:r>
                <a:rPr lang="en-US" sz="600" dirty="0">
                  <a:solidFill>
                    <a:srgbClr val="000028"/>
                  </a:solidFill>
                  <a:latin typeface="Arial"/>
                  <a:ea typeface="+mn-ea"/>
                </a:rPr>
                <a:t>Series</a:t>
              </a:r>
            </a:p>
          </p:txBody>
        </p:sp>
        <p:sp>
          <p:nvSpPr>
            <p:cNvPr id="50" name="Ellipse 27">
              <a:extLst>
                <a:ext uri="{FF2B5EF4-FFF2-40B4-BE49-F238E27FC236}">
                  <a16:creationId xmlns:a16="http://schemas.microsoft.com/office/drawing/2014/main" id="{521E1705-1B35-4E5B-8C0A-55B2E962B6BD}"/>
                </a:ext>
              </a:extLst>
            </p:cNvPr>
            <p:cNvSpPr>
              <a:spLocks/>
            </p:cNvSpPr>
            <p:nvPr/>
          </p:nvSpPr>
          <p:spPr bwMode="gray">
            <a:xfrm>
              <a:off x="5454503" y="4208970"/>
              <a:ext cx="313005" cy="313005"/>
            </a:xfrm>
            <a:prstGeom prst="can">
              <a:avLst/>
            </a:prstGeom>
            <a:solidFill>
              <a:schemeClr val="accent3"/>
            </a:solidFill>
            <a:ln>
              <a:noFill/>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auto">
                <a:spcBef>
                  <a:spcPts val="0"/>
                </a:spcBef>
                <a:spcAft>
                  <a:spcPts val="0"/>
                </a:spcAft>
              </a:pPr>
              <a:r>
                <a:rPr lang="en-US" sz="600" dirty="0">
                  <a:solidFill>
                    <a:srgbClr val="000028"/>
                  </a:solidFill>
                  <a:latin typeface="Arial"/>
                  <a:ea typeface="+mn-ea"/>
                </a:rPr>
                <a:t>Docs</a:t>
              </a:r>
            </a:p>
          </p:txBody>
        </p:sp>
      </p:grpSp>
      <p:sp>
        <p:nvSpPr>
          <p:cNvPr id="39" name="Arrow: Pentagon 56">
            <a:extLst>
              <a:ext uri="{FF2B5EF4-FFF2-40B4-BE49-F238E27FC236}">
                <a16:creationId xmlns:a16="http://schemas.microsoft.com/office/drawing/2014/main" id="{B50054F1-719A-4BE9-BC2A-B8A887BA4808}"/>
              </a:ext>
            </a:extLst>
          </p:cNvPr>
          <p:cNvSpPr/>
          <p:nvPr/>
        </p:nvSpPr>
        <p:spPr bwMode="auto">
          <a:xfrm>
            <a:off x="5364983" y="5130882"/>
            <a:ext cx="427469" cy="211585"/>
          </a:xfrm>
          <a:prstGeom prst="rect">
            <a:avLst/>
          </a:prstGeom>
          <a:solidFill>
            <a:srgbClr val="000028"/>
          </a:solidFill>
          <a:ln>
            <a:noFill/>
          </a:ln>
          <a:effectLst/>
        </p:spPr>
        <p:txBody>
          <a:bodyPr wrap="none" lIns="36000" tIns="53916" rIns="36000" bIns="53916" numCol="1" spcCol="72000" rtlCol="0" anchor="ctr">
            <a:noAutofit/>
          </a:bodyPr>
          <a:lstStyle/>
          <a:p>
            <a:pPr algn="ctr" defTabSz="913029">
              <a:defRPr/>
            </a:pPr>
            <a:r>
              <a:rPr lang="en-US" sz="1197" b="1" dirty="0">
                <a:solidFill>
                  <a:srgbClr val="FFFFFF"/>
                </a:solidFill>
                <a:latin typeface="Arial"/>
              </a:rPr>
              <a:t>2.5</a:t>
            </a:r>
            <a:r>
              <a:rPr lang="en-US" sz="1197" b="1" dirty="0">
                <a:solidFill>
                  <a:srgbClr val="FFFFFF"/>
                </a:solidFill>
              </a:rPr>
              <a:t>%</a:t>
            </a:r>
            <a:endParaRPr lang="en-US" sz="1197" dirty="0">
              <a:solidFill>
                <a:srgbClr val="32A0A0"/>
              </a:solidFill>
            </a:endParaRPr>
          </a:p>
        </p:txBody>
      </p:sp>
      <p:sp>
        <p:nvSpPr>
          <p:cNvPr id="42" name="Arrow: Pentagon 56">
            <a:extLst>
              <a:ext uri="{FF2B5EF4-FFF2-40B4-BE49-F238E27FC236}">
                <a16:creationId xmlns:a16="http://schemas.microsoft.com/office/drawing/2014/main" id="{046F612C-5D6B-4658-8EA9-49E85DAA75E7}"/>
              </a:ext>
            </a:extLst>
          </p:cNvPr>
          <p:cNvSpPr/>
          <p:nvPr/>
        </p:nvSpPr>
        <p:spPr bwMode="auto">
          <a:xfrm>
            <a:off x="5364983" y="5345633"/>
            <a:ext cx="427469" cy="211585"/>
          </a:xfrm>
          <a:prstGeom prst="rect">
            <a:avLst/>
          </a:prstGeom>
          <a:solidFill>
            <a:srgbClr val="000028"/>
          </a:solidFill>
          <a:ln>
            <a:noFill/>
          </a:ln>
          <a:effectLst/>
        </p:spPr>
        <p:txBody>
          <a:bodyPr wrap="none" lIns="36000" tIns="53916" rIns="36000" bIns="53916" numCol="1" spcCol="72000" rtlCol="0" anchor="ctr">
            <a:noAutofit/>
          </a:bodyPr>
          <a:lstStyle/>
          <a:p>
            <a:pPr algn="ctr" defTabSz="913029">
              <a:defRPr/>
            </a:pPr>
            <a:r>
              <a:rPr lang="en-US" sz="1197" b="1" dirty="0">
                <a:solidFill>
                  <a:srgbClr val="FFFFFF"/>
                </a:solidFill>
                <a:latin typeface="Arial"/>
              </a:rPr>
              <a:t>2.5</a:t>
            </a:r>
            <a:r>
              <a:rPr lang="en-US" sz="1197" b="1" dirty="0">
                <a:solidFill>
                  <a:srgbClr val="FFFFFF"/>
                </a:solidFill>
              </a:rPr>
              <a:t>%</a:t>
            </a:r>
            <a:endParaRPr lang="en-US" sz="1197" dirty="0">
              <a:solidFill>
                <a:srgbClr val="32A0A0"/>
              </a:solidFill>
            </a:endParaRPr>
          </a:p>
        </p:txBody>
      </p:sp>
      <p:sp>
        <p:nvSpPr>
          <p:cNvPr id="45" name="Arrow: Pentagon 56">
            <a:extLst>
              <a:ext uri="{FF2B5EF4-FFF2-40B4-BE49-F238E27FC236}">
                <a16:creationId xmlns:a16="http://schemas.microsoft.com/office/drawing/2014/main" id="{086497DB-8DF1-4D5D-8796-ED4EC682D863}"/>
              </a:ext>
            </a:extLst>
          </p:cNvPr>
          <p:cNvSpPr/>
          <p:nvPr/>
        </p:nvSpPr>
        <p:spPr bwMode="auto">
          <a:xfrm>
            <a:off x="5257312" y="5560384"/>
            <a:ext cx="642808" cy="211585"/>
          </a:xfrm>
          <a:prstGeom prst="rect">
            <a:avLst/>
          </a:prstGeom>
          <a:solidFill>
            <a:srgbClr val="000028"/>
          </a:solidFill>
          <a:ln>
            <a:noFill/>
          </a:ln>
          <a:effectLst/>
        </p:spPr>
        <p:txBody>
          <a:bodyPr wrap="none" lIns="36000" tIns="53916" rIns="36000" bIns="53916" numCol="1" spcCol="72000" rtlCol="0" anchor="ctr">
            <a:noAutofit/>
          </a:bodyPr>
          <a:lstStyle/>
          <a:p>
            <a:pPr algn="ctr" defTabSz="913029">
              <a:defRPr/>
            </a:pPr>
            <a:r>
              <a:rPr lang="en-US" sz="1197" b="1" dirty="0">
                <a:solidFill>
                  <a:srgbClr val="FFFFFF"/>
                </a:solidFill>
                <a:latin typeface="Arial"/>
              </a:rPr>
              <a:t>8 – </a:t>
            </a:r>
            <a:r>
              <a:rPr lang="en-US" sz="1197" b="1">
                <a:solidFill>
                  <a:srgbClr val="FFFFFF"/>
                </a:solidFill>
                <a:latin typeface="Arial"/>
              </a:rPr>
              <a:t>20</a:t>
            </a:r>
            <a:r>
              <a:rPr lang="en-US" sz="1197" b="1">
                <a:solidFill>
                  <a:srgbClr val="FFFFFF"/>
                </a:solidFill>
              </a:rPr>
              <a:t>%</a:t>
            </a:r>
            <a:endParaRPr lang="en-US" sz="1197" dirty="0">
              <a:solidFill>
                <a:srgbClr val="32A0A0"/>
              </a:solidFill>
            </a:endParaRPr>
          </a:p>
        </p:txBody>
      </p:sp>
      <p:sp>
        <p:nvSpPr>
          <p:cNvPr id="48" name="Arrow: Pentagon 56">
            <a:extLst>
              <a:ext uri="{FF2B5EF4-FFF2-40B4-BE49-F238E27FC236}">
                <a16:creationId xmlns:a16="http://schemas.microsoft.com/office/drawing/2014/main" id="{5F3BD8A7-4FE5-4CCF-9DCC-A5528FC17644}"/>
              </a:ext>
            </a:extLst>
          </p:cNvPr>
          <p:cNvSpPr/>
          <p:nvPr/>
        </p:nvSpPr>
        <p:spPr bwMode="auto">
          <a:xfrm>
            <a:off x="5364983" y="5775135"/>
            <a:ext cx="427469" cy="211585"/>
          </a:xfrm>
          <a:prstGeom prst="rect">
            <a:avLst/>
          </a:prstGeom>
          <a:solidFill>
            <a:srgbClr val="000028"/>
          </a:solidFill>
          <a:ln>
            <a:noFill/>
          </a:ln>
          <a:effectLst/>
        </p:spPr>
        <p:txBody>
          <a:bodyPr wrap="none" lIns="36000" tIns="53916" rIns="36000" bIns="53916" numCol="1" spcCol="72000" rtlCol="0" anchor="ctr">
            <a:noAutofit/>
          </a:bodyPr>
          <a:lstStyle/>
          <a:p>
            <a:pPr algn="ctr" defTabSz="913029">
              <a:defRPr/>
            </a:pPr>
            <a:r>
              <a:rPr lang="en-US" sz="1197" b="1">
                <a:solidFill>
                  <a:srgbClr val="FFFFFF"/>
                </a:solidFill>
                <a:latin typeface="Arial"/>
              </a:rPr>
              <a:t>18</a:t>
            </a:r>
            <a:r>
              <a:rPr lang="en-US" sz="1197" b="1">
                <a:solidFill>
                  <a:srgbClr val="FFFFFF"/>
                </a:solidFill>
              </a:rPr>
              <a:t>%</a:t>
            </a:r>
            <a:endParaRPr lang="en-US" sz="1197" dirty="0">
              <a:solidFill>
                <a:srgbClr val="32A0A0"/>
              </a:solidFill>
            </a:endParaRPr>
          </a:p>
        </p:txBody>
      </p:sp>
      <p:sp>
        <p:nvSpPr>
          <p:cNvPr id="51" name="Arrow: Pentagon 56">
            <a:extLst>
              <a:ext uri="{FF2B5EF4-FFF2-40B4-BE49-F238E27FC236}">
                <a16:creationId xmlns:a16="http://schemas.microsoft.com/office/drawing/2014/main" id="{2C1B7FCD-2E1C-44C2-ABFE-5E0266DE8DE0}"/>
              </a:ext>
            </a:extLst>
          </p:cNvPr>
          <p:cNvSpPr/>
          <p:nvPr/>
        </p:nvSpPr>
        <p:spPr bwMode="auto">
          <a:xfrm>
            <a:off x="5364983" y="5989885"/>
            <a:ext cx="427469" cy="211585"/>
          </a:xfrm>
          <a:prstGeom prst="rect">
            <a:avLst/>
          </a:prstGeom>
          <a:solidFill>
            <a:srgbClr val="000028"/>
          </a:solidFill>
          <a:ln>
            <a:noFill/>
          </a:ln>
          <a:effectLst/>
        </p:spPr>
        <p:txBody>
          <a:bodyPr wrap="none" lIns="36000" tIns="53916" rIns="36000" bIns="53916" numCol="1" spcCol="72000" rtlCol="0" anchor="ctr">
            <a:noAutofit/>
          </a:bodyPr>
          <a:lstStyle/>
          <a:p>
            <a:pPr algn="ctr" defTabSz="913029">
              <a:defRPr/>
            </a:pPr>
            <a:r>
              <a:rPr lang="en-US" sz="1197" b="1">
                <a:solidFill>
                  <a:srgbClr val="FFFFFF"/>
                </a:solidFill>
              </a:rPr>
              <a:t>39%</a:t>
            </a:r>
            <a:endParaRPr lang="en-US" sz="1197" dirty="0">
              <a:solidFill>
                <a:srgbClr val="32A0A0"/>
              </a:solidFill>
            </a:endParaRPr>
          </a:p>
        </p:txBody>
      </p:sp>
      <p:sp>
        <p:nvSpPr>
          <p:cNvPr id="59" name="Arrow: Pentagon 42">
            <a:extLst>
              <a:ext uri="{FF2B5EF4-FFF2-40B4-BE49-F238E27FC236}">
                <a16:creationId xmlns:a16="http://schemas.microsoft.com/office/drawing/2014/main" id="{9ECC0B61-BAC1-4A62-8237-54D4E49B2789}"/>
              </a:ext>
            </a:extLst>
          </p:cNvPr>
          <p:cNvSpPr/>
          <p:nvPr/>
        </p:nvSpPr>
        <p:spPr bwMode="auto">
          <a:xfrm>
            <a:off x="6464873" y="5236674"/>
            <a:ext cx="2276475" cy="859002"/>
          </a:xfrm>
          <a:prstGeom prst="homePlate">
            <a:avLst>
              <a:gd name="adj" fmla="val 30780"/>
            </a:avLst>
          </a:prstGeom>
          <a:gradFill flip="none" rotWithShape="1">
            <a:gsLst>
              <a:gs pos="14000">
                <a:schemeClr val="accent2"/>
              </a:gs>
              <a:gs pos="100000">
                <a:schemeClr val="accent2">
                  <a:alpha val="0"/>
                </a:schemeClr>
              </a:gs>
            </a:gsLst>
            <a:lin ang="10800000" scaled="1"/>
            <a:tileRect/>
          </a:gradFill>
          <a:ln w="38100">
            <a:noFill/>
            <a:miter lim="800000"/>
            <a:headEnd/>
            <a:tailEnd/>
          </a:ln>
          <a:effectLst/>
        </p:spPr>
        <p:txBody>
          <a:bodyPr wrap="square" lIns="107776" tIns="53888" rIns="107776" bIns="53888" numCol="1" spcCol="72000" rtlCol="0" anchor="ctr">
            <a:noAutofit/>
          </a:bodyPr>
          <a:lstStyle/>
          <a:p>
            <a:pPr defTabSz="913029"/>
            <a:r>
              <a:rPr lang="en-US" sz="1600" dirty="0">
                <a:solidFill>
                  <a:prstClr val="white"/>
                </a:solidFill>
                <a:latin typeface="Arial"/>
                <a:ea typeface="ＭＳ Ｐゴシック"/>
                <a:cs typeface="Arial"/>
              </a:rPr>
              <a:t>5 – 10% improvement </a:t>
            </a:r>
            <a:br>
              <a:rPr lang="en-US" sz="1600" dirty="0">
                <a:solidFill>
                  <a:prstClr val="white"/>
                </a:solidFill>
                <a:latin typeface="Arial"/>
                <a:ea typeface="ＭＳ Ｐゴシック"/>
                <a:cs typeface="Arial"/>
              </a:rPr>
            </a:br>
            <a:r>
              <a:rPr lang="en-US" sz="1600" dirty="0">
                <a:solidFill>
                  <a:prstClr val="white"/>
                </a:solidFill>
                <a:latin typeface="Arial"/>
                <a:ea typeface="ＭＳ Ｐゴシック"/>
                <a:cs typeface="Arial"/>
              </a:rPr>
              <a:t>across </a:t>
            </a:r>
            <a:r>
              <a:rPr lang="en-US" sz="1600">
                <a:solidFill>
                  <a:prstClr val="white"/>
                </a:solidFill>
                <a:latin typeface="Arial"/>
                <a:ea typeface="ＭＳ Ｐゴシック"/>
                <a:cs typeface="Arial"/>
              </a:rPr>
              <a:t>the lifecycle</a:t>
            </a:r>
            <a:endParaRPr lang="en-US" sz="1600" dirty="0">
              <a:solidFill>
                <a:prstClr val="white"/>
              </a:solidFill>
              <a:latin typeface="Arial"/>
              <a:ea typeface="ＭＳ Ｐゴシック"/>
              <a:cs typeface="Arial"/>
            </a:endParaRPr>
          </a:p>
        </p:txBody>
      </p:sp>
    </p:spTree>
    <p:extLst>
      <p:ext uri="{BB962C8B-B14F-4D97-AF65-F5344CB8AC3E}">
        <p14:creationId xmlns:p14="http://schemas.microsoft.com/office/powerpoint/2010/main" val="19409311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1CB6472D-E668-4413-B304-902B8D0DEDE2}"/>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8218" name="think-cell Folie" r:id="rId7" imgW="306" imgH="306" progId="TCLayout.ActiveDocument.1">
                  <p:embed/>
                </p:oleObj>
              </mc:Choice>
              <mc:Fallback>
                <p:oleObj name="think-cell Folie" r:id="rId7" imgW="306" imgH="306" progId="TCLayout.ActiveDocument.1">
                  <p:embed/>
                  <p:pic>
                    <p:nvPicPr>
                      <p:cNvPr id="22" name="Objekt 21" hidden="1">
                        <a:extLst>
                          <a:ext uri="{FF2B5EF4-FFF2-40B4-BE49-F238E27FC236}">
                            <a16:creationId xmlns:a16="http://schemas.microsoft.com/office/drawing/2014/main" id="{1CB6472D-E668-4413-B304-902B8D0DEDE2}"/>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1" name="Titel 1">
            <a:extLst>
              <a:ext uri="{FF2B5EF4-FFF2-40B4-BE49-F238E27FC236}">
                <a16:creationId xmlns:a16="http://schemas.microsoft.com/office/drawing/2014/main" id="{A6A5B64D-DABE-4A5F-ABEA-B7FF972A8D3F}"/>
              </a:ext>
            </a:extLst>
          </p:cNvPr>
          <p:cNvSpPr txBox="1">
            <a:spLocks/>
          </p:cNvSpPr>
          <p:nvPr/>
        </p:nvSpPr>
        <p:spPr bwMode="auto">
          <a:xfrm>
            <a:off x="-3482" y="18160"/>
            <a:ext cx="12198350" cy="1440000"/>
          </a:xfrm>
          <a:prstGeom prst="rect">
            <a:avLst/>
          </a:prstGeo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4400" rtl="0" eaLnBrk="1" fontAlgn="base" latinLnBrk="0" hangingPunct="1">
              <a:lnSpc>
                <a:spcPct val="100000"/>
              </a:lnSpc>
              <a:spcBef>
                <a:spcPct val="0"/>
              </a:spcBef>
              <a:spcAft>
                <a:spcPct val="0"/>
              </a:spcAft>
              <a:buClrTx/>
              <a:buSzTx/>
              <a:buFontTx/>
              <a:buNone/>
              <a:tabLst/>
              <a:defRPr lang="de-DE" sz="1800" b="1">
                <a:solidFill>
                  <a:srgbClr val="00646E"/>
                </a:solidFill>
                <a:latin typeface="Siemens Sans" pitchFamily="2" charset="0"/>
                <a:ea typeface="+mj-ea"/>
                <a:cs typeface="Arial" pitchFamily="34" charset="0"/>
              </a:defRPr>
            </a:lvl1pPr>
            <a:lvl2pPr algn="l" rtl="0" fontAlgn="base">
              <a:spcBef>
                <a:spcPct val="0"/>
              </a:spcBef>
              <a:spcAft>
                <a:spcPct val="0"/>
              </a:spcAft>
              <a:defRPr sz="2000" b="1">
                <a:solidFill>
                  <a:schemeClr val="tx1"/>
                </a:solidFill>
                <a:latin typeface="Arial" charset="0"/>
                <a:ea typeface="Arial" charset="-128"/>
              </a:defRPr>
            </a:lvl2pPr>
            <a:lvl3pPr algn="l" rtl="0" fontAlgn="base">
              <a:spcBef>
                <a:spcPct val="0"/>
              </a:spcBef>
              <a:spcAft>
                <a:spcPct val="0"/>
              </a:spcAft>
              <a:defRPr sz="2000" b="1">
                <a:solidFill>
                  <a:schemeClr val="tx1"/>
                </a:solidFill>
                <a:latin typeface="Arial" charset="0"/>
                <a:ea typeface="Arial" charset="-128"/>
              </a:defRPr>
            </a:lvl3pPr>
            <a:lvl4pPr algn="l" rtl="0" fontAlgn="base">
              <a:spcBef>
                <a:spcPct val="0"/>
              </a:spcBef>
              <a:spcAft>
                <a:spcPct val="0"/>
              </a:spcAft>
              <a:defRPr sz="2000" b="1">
                <a:solidFill>
                  <a:schemeClr val="tx1"/>
                </a:solidFill>
                <a:latin typeface="Arial" charset="0"/>
                <a:ea typeface="Arial" charset="-128"/>
              </a:defRPr>
            </a:lvl4pPr>
            <a:lvl5pPr algn="l" rtl="0" fontAlgn="base">
              <a:spcBef>
                <a:spcPct val="0"/>
              </a:spcBef>
              <a:spcAft>
                <a:spcPct val="0"/>
              </a:spcAft>
              <a:defRPr sz="2000" b="1">
                <a:solidFill>
                  <a:schemeClr val="tx1"/>
                </a:solidFill>
                <a:latin typeface="Arial" charset="0"/>
                <a:ea typeface="Arial" charset="-128"/>
              </a:defRPr>
            </a:lvl5pPr>
            <a:lvl6pPr marL="457200" algn="l" rtl="0" eaLnBrk="1" fontAlgn="base" hangingPunct="1">
              <a:spcBef>
                <a:spcPct val="0"/>
              </a:spcBef>
              <a:spcAft>
                <a:spcPct val="0"/>
              </a:spcAft>
              <a:defRPr sz="2000" b="1">
                <a:solidFill>
                  <a:schemeClr val="tx1"/>
                </a:solidFill>
                <a:latin typeface="Arial" charset="0"/>
                <a:ea typeface="Arial" charset="0"/>
              </a:defRPr>
            </a:lvl6pPr>
            <a:lvl7pPr marL="914400" algn="l" rtl="0" eaLnBrk="1" fontAlgn="base" hangingPunct="1">
              <a:spcBef>
                <a:spcPct val="0"/>
              </a:spcBef>
              <a:spcAft>
                <a:spcPct val="0"/>
              </a:spcAft>
              <a:defRPr sz="2000" b="1">
                <a:solidFill>
                  <a:schemeClr val="tx1"/>
                </a:solidFill>
                <a:latin typeface="Arial" charset="0"/>
                <a:ea typeface="Arial" charset="0"/>
              </a:defRPr>
            </a:lvl7pPr>
            <a:lvl8pPr marL="1371600" algn="l" rtl="0" eaLnBrk="1" fontAlgn="base" hangingPunct="1">
              <a:spcBef>
                <a:spcPct val="0"/>
              </a:spcBef>
              <a:spcAft>
                <a:spcPct val="0"/>
              </a:spcAft>
              <a:defRPr sz="2000" b="1">
                <a:solidFill>
                  <a:schemeClr val="tx1"/>
                </a:solidFill>
                <a:latin typeface="Arial" charset="0"/>
                <a:ea typeface="Arial" charset="0"/>
              </a:defRPr>
            </a:lvl8pPr>
            <a:lvl9pPr marL="1828800" algn="l" rtl="0" eaLnBrk="1" fontAlgn="base" hangingPunct="1">
              <a:spcBef>
                <a:spcPct val="0"/>
              </a:spcBef>
              <a:spcAft>
                <a:spcPct val="0"/>
              </a:spcAft>
              <a:defRPr sz="2000" b="1">
                <a:solidFill>
                  <a:schemeClr val="tx1"/>
                </a:solidFill>
                <a:latin typeface="Arial" charset="0"/>
                <a:ea typeface="Arial" charset="0"/>
              </a:defRPr>
            </a:lvl9pPr>
          </a:lstStyle>
          <a:p>
            <a:pPr lvl="0">
              <a:defRPr/>
            </a:pPr>
            <a:r>
              <a:rPr lang="en-US" sz="2200" kern="0" dirty="0">
                <a:solidFill>
                  <a:srgbClr val="FFFFFF"/>
                </a:solidFill>
                <a:latin typeface="Arial" panose="020B0604020202020204" pitchFamily="34" charset="0"/>
              </a:rPr>
              <a:t>Siemens drives the Digital Enterprise for process industries – </a:t>
            </a:r>
          </a:p>
          <a:p>
            <a:pPr lvl="0">
              <a:defRPr/>
            </a:pPr>
            <a:r>
              <a:rPr lang="en-US" sz="2200" kern="0" dirty="0">
                <a:solidFill>
                  <a:srgbClr val="FFFFFF"/>
                </a:solidFill>
                <a:latin typeface="Arial" panose="020B0604020202020204" pitchFamily="34" charset="0"/>
              </a:rPr>
              <a:t>Five main action fields and selected portfolio highlights</a:t>
            </a: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j-ea"/>
              <a:cs typeface="Arial" pitchFamily="34" charset="0"/>
            </a:endParaRPr>
          </a:p>
        </p:txBody>
      </p:sp>
      <p:sp>
        <p:nvSpPr>
          <p:cNvPr id="28" name="4-real-product">
            <a:extLst>
              <a:ext uri="{FF2B5EF4-FFF2-40B4-BE49-F238E27FC236}">
                <a16:creationId xmlns:a16="http://schemas.microsoft.com/office/drawing/2014/main" id="{987DDD27-3633-43F8-8A39-3D9C409F4B3E}"/>
              </a:ext>
            </a:extLst>
          </p:cNvPr>
          <p:cNvSpPr>
            <a:spLocks noChangeAspect="1"/>
          </p:cNvSpPr>
          <p:nvPr/>
        </p:nvSpPr>
        <p:spPr bwMode="auto">
          <a:xfrm>
            <a:off x="5798766" y="1740929"/>
            <a:ext cx="3240000" cy="3240000"/>
          </a:xfrm>
          <a:prstGeom prst="ellipse">
            <a:avLst/>
          </a:prstGeom>
          <a:solidFill>
            <a:srgbClr val="005F87"/>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sp>
        <p:nvSpPr>
          <p:cNvPr id="29" name="3_real-production">
            <a:extLst>
              <a:ext uri="{FF2B5EF4-FFF2-40B4-BE49-F238E27FC236}">
                <a16:creationId xmlns:a16="http://schemas.microsoft.com/office/drawing/2014/main" id="{6BB0DED8-C8CF-40DA-8C36-C0F66493AEC5}"/>
              </a:ext>
            </a:extLst>
          </p:cNvPr>
          <p:cNvSpPr>
            <a:spLocks noChangeAspect="1"/>
          </p:cNvSpPr>
          <p:nvPr/>
        </p:nvSpPr>
        <p:spPr bwMode="auto">
          <a:xfrm>
            <a:off x="5798766" y="1740929"/>
            <a:ext cx="3240000" cy="3240000"/>
          </a:xfrm>
          <a:prstGeom prst="ellipse">
            <a:avLst/>
          </a:prstGeom>
          <a:solidFill>
            <a:srgbClr val="2387AA"/>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r>
              <a:rPr kumimoji="0" lang="en-US" sz="100" b="0" i="0" u="none" strike="noStrike" kern="1200" cap="none" spc="0" normalizeH="0" baseline="0" noProof="0" dirty="0">
                <a:ln>
                  <a:noFill/>
                </a:ln>
                <a:solidFill>
                  <a:srgbClr val="2387AA"/>
                </a:solidFill>
                <a:effectLst/>
                <a:uLnTx/>
                <a:uFillTx/>
                <a:latin typeface="Arial"/>
                <a:ea typeface="Arial" panose="020B0604020202020204" pitchFamily="34" charset="-128"/>
                <a:cs typeface="Arial" panose="020B0604020202020204" pitchFamily="34" charset="-128"/>
              </a:rPr>
              <a:t>p</a:t>
            </a:r>
          </a:p>
        </p:txBody>
      </p:sp>
      <p:sp>
        <p:nvSpPr>
          <p:cNvPr id="30" name="2_virtual-production">
            <a:extLst>
              <a:ext uri="{FF2B5EF4-FFF2-40B4-BE49-F238E27FC236}">
                <a16:creationId xmlns:a16="http://schemas.microsoft.com/office/drawing/2014/main" id="{0E22D2E6-621E-42C2-93DD-1250ADBE0945}"/>
              </a:ext>
            </a:extLst>
          </p:cNvPr>
          <p:cNvSpPr>
            <a:spLocks noChangeAspect="1"/>
          </p:cNvSpPr>
          <p:nvPr/>
        </p:nvSpPr>
        <p:spPr bwMode="auto">
          <a:xfrm>
            <a:off x="3386498" y="1740929"/>
            <a:ext cx="3240000" cy="3240000"/>
          </a:xfrm>
          <a:prstGeom prst="ellipse">
            <a:avLst/>
          </a:prstGeom>
          <a:solidFill>
            <a:srgbClr val="4BB9B9"/>
          </a:solidFill>
          <a:ln w="19050" cap="flat" cmpd="sng" algn="ctr">
            <a:noFill/>
            <a:prstDash val="solid"/>
            <a:round/>
            <a:headEnd type="none" w="med" len="med"/>
            <a:tailEnd type="none" w="med" len="med"/>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sp>
        <p:nvSpPr>
          <p:cNvPr id="31" name="1_virtual-product">
            <a:extLst>
              <a:ext uri="{FF2B5EF4-FFF2-40B4-BE49-F238E27FC236}">
                <a16:creationId xmlns:a16="http://schemas.microsoft.com/office/drawing/2014/main" id="{DCBDAD9D-81FD-447A-9DDA-51F10782D7C5}"/>
              </a:ext>
            </a:extLst>
          </p:cNvPr>
          <p:cNvSpPr>
            <a:spLocks noChangeAspect="1"/>
          </p:cNvSpPr>
          <p:nvPr/>
        </p:nvSpPr>
        <p:spPr bwMode="auto">
          <a:xfrm>
            <a:off x="3386498" y="1740929"/>
            <a:ext cx="3240000" cy="3240000"/>
          </a:xfrm>
          <a:prstGeom prst="ellipse">
            <a:avLst/>
          </a:prstGeom>
          <a:solidFill>
            <a:srgbClr val="AAB414"/>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grpSp>
        <p:nvGrpSpPr>
          <p:cNvPr id="32" name="Gruppieren 73">
            <a:extLst>
              <a:ext uri="{FF2B5EF4-FFF2-40B4-BE49-F238E27FC236}">
                <a16:creationId xmlns:a16="http://schemas.microsoft.com/office/drawing/2014/main" id="{58C278A8-141E-4F16-B98E-E61893DFE63A}"/>
              </a:ext>
            </a:extLst>
          </p:cNvPr>
          <p:cNvGrpSpPr/>
          <p:nvPr/>
        </p:nvGrpSpPr>
        <p:grpSpPr>
          <a:xfrm rot="5400000">
            <a:off x="6338766" y="2280789"/>
            <a:ext cx="2160000" cy="2160279"/>
            <a:chOff x="4000941" y="2744884"/>
            <a:chExt cx="2160000" cy="2160279"/>
          </a:xfrm>
        </p:grpSpPr>
        <p:sp>
          <p:nvSpPr>
            <p:cNvPr id="33" name="Freihandform: Form 74">
              <a:extLst>
                <a:ext uri="{FF2B5EF4-FFF2-40B4-BE49-F238E27FC236}">
                  <a16:creationId xmlns:a16="http://schemas.microsoft.com/office/drawing/2014/main" id="{DAF6FE45-3783-49B7-8FDE-A2763931F990}"/>
                </a:ext>
              </a:extLst>
            </p:cNvPr>
            <p:cNvSpPr>
              <a:spLocks noChangeAspect="1"/>
            </p:cNvSpPr>
            <p:nvPr/>
          </p:nvSpPr>
          <p:spPr bwMode="auto">
            <a:xfrm flipH="1">
              <a:off x="4000941" y="2744884"/>
              <a:ext cx="2160000" cy="1440000"/>
            </a:xfrm>
            <a:custGeom>
              <a:avLst/>
              <a:gdLst>
                <a:gd name="connsiteX0" fmla="*/ 1080000 w 2160000"/>
                <a:gd name="connsiteY0" fmla="*/ 0 h 1440000"/>
                <a:gd name="connsiteX1" fmla="*/ 2160000 w 2160000"/>
                <a:gd name="connsiteY1" fmla="*/ 1080000 h 1440000"/>
                <a:gd name="connsiteX2" fmla="*/ 1800000 w 2160000"/>
                <a:gd name="connsiteY2" fmla="*/ 1440000 h 1440000"/>
                <a:gd name="connsiteX3" fmla="*/ 1440000 w 2160000"/>
                <a:gd name="connsiteY3" fmla="*/ 1080000 h 1440000"/>
                <a:gd name="connsiteX4" fmla="*/ 1080000 w 2160000"/>
                <a:gd name="connsiteY4" fmla="*/ 720000 h 1440000"/>
                <a:gd name="connsiteX5" fmla="*/ 720000 w 2160000"/>
                <a:gd name="connsiteY5" fmla="*/ 1080000 h 1440000"/>
                <a:gd name="connsiteX6" fmla="*/ 0 w 2160000"/>
                <a:gd name="connsiteY6" fmla="*/ 1080000 h 1440000"/>
                <a:gd name="connsiteX7" fmla="*/ 1080000 w 2160000"/>
                <a:gd name="connsiteY7" fmla="*/ 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1440000">
                  <a:moveTo>
                    <a:pt x="1080000" y="0"/>
                  </a:moveTo>
                  <a:cubicBezTo>
                    <a:pt x="1676468" y="0"/>
                    <a:pt x="2160000" y="483532"/>
                    <a:pt x="2160000" y="1080000"/>
                  </a:cubicBezTo>
                  <a:lnTo>
                    <a:pt x="1800000" y="1440000"/>
                  </a:lnTo>
                  <a:lnTo>
                    <a:pt x="1440000" y="1080000"/>
                  </a:lnTo>
                  <a:cubicBezTo>
                    <a:pt x="1440000" y="881177"/>
                    <a:pt x="1278823" y="720000"/>
                    <a:pt x="1080000" y="720000"/>
                  </a:cubicBezTo>
                  <a:cubicBezTo>
                    <a:pt x="881177" y="720000"/>
                    <a:pt x="720000" y="881177"/>
                    <a:pt x="720000" y="1080000"/>
                  </a:cubicBezTo>
                  <a:lnTo>
                    <a:pt x="0" y="1080000"/>
                  </a:lnTo>
                  <a:cubicBezTo>
                    <a:pt x="0" y="483532"/>
                    <a:pt x="483532" y="0"/>
                    <a:pt x="1080000" y="0"/>
                  </a:cubicBezTo>
                  <a:close/>
                </a:path>
              </a:pathLst>
            </a:custGeom>
            <a:gradFill>
              <a:gsLst>
                <a:gs pos="70000">
                  <a:srgbClr val="005F87">
                    <a:alpha val="60000"/>
                  </a:srgbClr>
                </a:gs>
                <a:gs pos="30000">
                  <a:srgbClr val="005F87">
                    <a:alpha val="0"/>
                  </a:srgbClr>
                </a:gs>
              </a:gsLst>
              <a:lin ang="0" scaled="0"/>
            </a:gra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sp>
          <p:nvSpPr>
            <p:cNvPr id="34" name="Freihandform: Form 75">
              <a:extLst>
                <a:ext uri="{FF2B5EF4-FFF2-40B4-BE49-F238E27FC236}">
                  <a16:creationId xmlns:a16="http://schemas.microsoft.com/office/drawing/2014/main" id="{FCA1CABB-A494-4F4E-82B6-81EC520C270B}"/>
                </a:ext>
              </a:extLst>
            </p:cNvPr>
            <p:cNvSpPr>
              <a:spLocks noChangeAspect="1"/>
            </p:cNvSpPr>
            <p:nvPr/>
          </p:nvSpPr>
          <p:spPr bwMode="auto">
            <a:xfrm rot="10800000" flipH="1">
              <a:off x="4000941" y="3465163"/>
              <a:ext cx="2160000" cy="1440000"/>
            </a:xfrm>
            <a:custGeom>
              <a:avLst/>
              <a:gdLst>
                <a:gd name="connsiteX0" fmla="*/ 1080000 w 2160000"/>
                <a:gd name="connsiteY0" fmla="*/ 0 h 1440000"/>
                <a:gd name="connsiteX1" fmla="*/ 2160000 w 2160000"/>
                <a:gd name="connsiteY1" fmla="*/ 1080000 h 1440000"/>
                <a:gd name="connsiteX2" fmla="*/ 1800000 w 2160000"/>
                <a:gd name="connsiteY2" fmla="*/ 1440000 h 1440000"/>
                <a:gd name="connsiteX3" fmla="*/ 1440000 w 2160000"/>
                <a:gd name="connsiteY3" fmla="*/ 1080000 h 1440000"/>
                <a:gd name="connsiteX4" fmla="*/ 1080000 w 2160000"/>
                <a:gd name="connsiteY4" fmla="*/ 720000 h 1440000"/>
                <a:gd name="connsiteX5" fmla="*/ 720000 w 2160000"/>
                <a:gd name="connsiteY5" fmla="*/ 1080000 h 1440000"/>
                <a:gd name="connsiteX6" fmla="*/ 0 w 2160000"/>
                <a:gd name="connsiteY6" fmla="*/ 1080000 h 1440000"/>
                <a:gd name="connsiteX7" fmla="*/ 1080000 w 2160000"/>
                <a:gd name="connsiteY7" fmla="*/ 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1440000">
                  <a:moveTo>
                    <a:pt x="1080000" y="0"/>
                  </a:moveTo>
                  <a:cubicBezTo>
                    <a:pt x="1676468" y="0"/>
                    <a:pt x="2160000" y="483532"/>
                    <a:pt x="2160000" y="1080000"/>
                  </a:cubicBezTo>
                  <a:lnTo>
                    <a:pt x="1800000" y="1440000"/>
                  </a:lnTo>
                  <a:lnTo>
                    <a:pt x="1440000" y="1080000"/>
                  </a:lnTo>
                  <a:cubicBezTo>
                    <a:pt x="1440000" y="881177"/>
                    <a:pt x="1278823" y="720000"/>
                    <a:pt x="1080000" y="720000"/>
                  </a:cubicBezTo>
                  <a:cubicBezTo>
                    <a:pt x="881177" y="720000"/>
                    <a:pt x="720000" y="881177"/>
                    <a:pt x="720000" y="1080000"/>
                  </a:cubicBezTo>
                  <a:lnTo>
                    <a:pt x="0" y="1080000"/>
                  </a:lnTo>
                  <a:cubicBezTo>
                    <a:pt x="0" y="483532"/>
                    <a:pt x="483532" y="0"/>
                    <a:pt x="1080000" y="0"/>
                  </a:cubicBezTo>
                  <a:close/>
                </a:path>
              </a:pathLst>
            </a:custGeom>
            <a:gradFill>
              <a:gsLst>
                <a:gs pos="70000">
                  <a:srgbClr val="005F87">
                    <a:alpha val="60000"/>
                  </a:srgbClr>
                </a:gs>
                <a:gs pos="30000">
                  <a:srgbClr val="005F87">
                    <a:alpha val="0"/>
                  </a:srgbClr>
                </a:gs>
              </a:gsLst>
              <a:lin ang="0" scaled="0"/>
            </a:gra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grpSp>
      <p:sp>
        <p:nvSpPr>
          <p:cNvPr id="35" name="Freihandform: Form 76">
            <a:extLst>
              <a:ext uri="{FF2B5EF4-FFF2-40B4-BE49-F238E27FC236}">
                <a16:creationId xmlns:a16="http://schemas.microsoft.com/office/drawing/2014/main" id="{5C9A6943-0F52-42D9-810D-E544668A891C}"/>
              </a:ext>
            </a:extLst>
          </p:cNvPr>
          <p:cNvSpPr>
            <a:spLocks noChangeAspect="1"/>
          </p:cNvSpPr>
          <p:nvPr/>
        </p:nvSpPr>
        <p:spPr bwMode="auto">
          <a:xfrm>
            <a:off x="5798766" y="2282116"/>
            <a:ext cx="827732" cy="2157626"/>
          </a:xfrm>
          <a:custGeom>
            <a:avLst/>
            <a:gdLst>
              <a:gd name="connsiteX0" fmla="*/ 413866 w 827732"/>
              <a:gd name="connsiteY0" fmla="*/ 0 h 2157626"/>
              <a:gd name="connsiteX1" fmla="*/ 457803 w 827732"/>
              <a:gd name="connsiteY1" fmla="*/ 48343 h 2157626"/>
              <a:gd name="connsiteX2" fmla="*/ 827732 w 827732"/>
              <a:gd name="connsiteY2" fmla="*/ 1078813 h 2157626"/>
              <a:gd name="connsiteX3" fmla="*/ 457803 w 827732"/>
              <a:gd name="connsiteY3" fmla="*/ 2109284 h 2157626"/>
              <a:gd name="connsiteX4" fmla="*/ 413866 w 827732"/>
              <a:gd name="connsiteY4" fmla="*/ 2157626 h 2157626"/>
              <a:gd name="connsiteX5" fmla="*/ 369930 w 827732"/>
              <a:gd name="connsiteY5" fmla="*/ 2109284 h 2157626"/>
              <a:gd name="connsiteX6" fmla="*/ 0 w 827732"/>
              <a:gd name="connsiteY6" fmla="*/ 1078813 h 2157626"/>
              <a:gd name="connsiteX7" fmla="*/ 369930 w 827732"/>
              <a:gd name="connsiteY7" fmla="*/ 48343 h 215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7732" h="2157626">
                <a:moveTo>
                  <a:pt x="413866" y="0"/>
                </a:moveTo>
                <a:lnTo>
                  <a:pt x="457803" y="48343"/>
                </a:lnTo>
                <a:cubicBezTo>
                  <a:pt x="688906" y="328374"/>
                  <a:pt x="827732" y="687381"/>
                  <a:pt x="827732" y="1078813"/>
                </a:cubicBezTo>
                <a:cubicBezTo>
                  <a:pt x="827732" y="1470245"/>
                  <a:pt x="688906" y="1829252"/>
                  <a:pt x="457803" y="2109284"/>
                </a:cubicBezTo>
                <a:lnTo>
                  <a:pt x="413866" y="2157626"/>
                </a:lnTo>
                <a:lnTo>
                  <a:pt x="369930" y="2109284"/>
                </a:lnTo>
                <a:cubicBezTo>
                  <a:pt x="138827" y="1829252"/>
                  <a:pt x="0" y="1470245"/>
                  <a:pt x="0" y="1078813"/>
                </a:cubicBezTo>
                <a:cubicBezTo>
                  <a:pt x="0" y="687381"/>
                  <a:pt x="138827" y="328374"/>
                  <a:pt x="369930" y="48343"/>
                </a:cubicBezTo>
                <a:close/>
              </a:path>
            </a:pathLst>
          </a:custGeom>
          <a:solidFill>
            <a:srgbClr val="2387AA">
              <a:alpha val="50000"/>
            </a:srgbClr>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Arial"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panose="020B0604020202020204" pitchFamily="34" charset="-128"/>
              <a:cs typeface="Arial" panose="020B0604020202020204" pitchFamily="34" charset="-128"/>
            </a:endParaRPr>
          </a:p>
        </p:txBody>
      </p:sp>
      <p:grpSp>
        <p:nvGrpSpPr>
          <p:cNvPr id="36" name="Gruppieren 77">
            <a:extLst>
              <a:ext uri="{FF2B5EF4-FFF2-40B4-BE49-F238E27FC236}">
                <a16:creationId xmlns:a16="http://schemas.microsoft.com/office/drawing/2014/main" id="{4E1F5C70-05CD-4376-9AF8-C1A71F3F1C10}"/>
              </a:ext>
            </a:extLst>
          </p:cNvPr>
          <p:cNvGrpSpPr/>
          <p:nvPr/>
        </p:nvGrpSpPr>
        <p:grpSpPr>
          <a:xfrm rot="5400000">
            <a:off x="3926498" y="2280789"/>
            <a:ext cx="2160000" cy="2160279"/>
            <a:chOff x="4000941" y="2744884"/>
            <a:chExt cx="2160000" cy="2160279"/>
          </a:xfrm>
        </p:grpSpPr>
        <p:sp>
          <p:nvSpPr>
            <p:cNvPr id="37" name="Freihandform: Form 78">
              <a:extLst>
                <a:ext uri="{FF2B5EF4-FFF2-40B4-BE49-F238E27FC236}">
                  <a16:creationId xmlns:a16="http://schemas.microsoft.com/office/drawing/2014/main" id="{388958DF-2C7F-40F0-88FF-25FE7DAEC680}"/>
                </a:ext>
              </a:extLst>
            </p:cNvPr>
            <p:cNvSpPr>
              <a:spLocks noChangeAspect="1"/>
            </p:cNvSpPr>
            <p:nvPr/>
          </p:nvSpPr>
          <p:spPr bwMode="auto">
            <a:xfrm flipH="1">
              <a:off x="4000941" y="2744884"/>
              <a:ext cx="2160000" cy="1440000"/>
            </a:xfrm>
            <a:custGeom>
              <a:avLst/>
              <a:gdLst>
                <a:gd name="connsiteX0" fmla="*/ 1080000 w 2160000"/>
                <a:gd name="connsiteY0" fmla="*/ 0 h 1440000"/>
                <a:gd name="connsiteX1" fmla="*/ 2160000 w 2160000"/>
                <a:gd name="connsiteY1" fmla="*/ 1080000 h 1440000"/>
                <a:gd name="connsiteX2" fmla="*/ 1800000 w 2160000"/>
                <a:gd name="connsiteY2" fmla="*/ 1440000 h 1440000"/>
                <a:gd name="connsiteX3" fmla="*/ 1440000 w 2160000"/>
                <a:gd name="connsiteY3" fmla="*/ 1080000 h 1440000"/>
                <a:gd name="connsiteX4" fmla="*/ 1080000 w 2160000"/>
                <a:gd name="connsiteY4" fmla="*/ 720000 h 1440000"/>
                <a:gd name="connsiteX5" fmla="*/ 720000 w 2160000"/>
                <a:gd name="connsiteY5" fmla="*/ 1080000 h 1440000"/>
                <a:gd name="connsiteX6" fmla="*/ 0 w 2160000"/>
                <a:gd name="connsiteY6" fmla="*/ 1080000 h 1440000"/>
                <a:gd name="connsiteX7" fmla="*/ 1080000 w 2160000"/>
                <a:gd name="connsiteY7" fmla="*/ 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1440000">
                  <a:moveTo>
                    <a:pt x="1080000" y="0"/>
                  </a:moveTo>
                  <a:cubicBezTo>
                    <a:pt x="1676468" y="0"/>
                    <a:pt x="2160000" y="483532"/>
                    <a:pt x="2160000" y="1080000"/>
                  </a:cubicBezTo>
                  <a:lnTo>
                    <a:pt x="1800000" y="1440000"/>
                  </a:lnTo>
                  <a:lnTo>
                    <a:pt x="1440000" y="1080000"/>
                  </a:lnTo>
                  <a:cubicBezTo>
                    <a:pt x="1440000" y="881177"/>
                    <a:pt x="1278823" y="720000"/>
                    <a:pt x="1080000" y="720000"/>
                  </a:cubicBezTo>
                  <a:cubicBezTo>
                    <a:pt x="881177" y="720000"/>
                    <a:pt x="720000" y="881177"/>
                    <a:pt x="720000" y="1080000"/>
                  </a:cubicBezTo>
                  <a:lnTo>
                    <a:pt x="0" y="1080000"/>
                  </a:lnTo>
                  <a:cubicBezTo>
                    <a:pt x="0" y="483532"/>
                    <a:pt x="483532" y="0"/>
                    <a:pt x="1080000" y="0"/>
                  </a:cubicBezTo>
                  <a:close/>
                </a:path>
              </a:pathLst>
            </a:custGeom>
            <a:gradFill>
              <a:gsLst>
                <a:gs pos="70000">
                  <a:srgbClr val="647D2D">
                    <a:alpha val="60000"/>
                  </a:srgbClr>
                </a:gs>
                <a:gs pos="30000">
                  <a:srgbClr val="647D2D">
                    <a:alpha val="0"/>
                  </a:srgbClr>
                </a:gs>
              </a:gsLst>
              <a:lin ang="0" scaled="0"/>
            </a:gra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sp>
          <p:nvSpPr>
            <p:cNvPr id="38" name="Freihandform: Form 79">
              <a:extLst>
                <a:ext uri="{FF2B5EF4-FFF2-40B4-BE49-F238E27FC236}">
                  <a16:creationId xmlns:a16="http://schemas.microsoft.com/office/drawing/2014/main" id="{B65B6797-8D00-4E38-B875-B3964901516C}"/>
                </a:ext>
              </a:extLst>
            </p:cNvPr>
            <p:cNvSpPr>
              <a:spLocks noChangeAspect="1"/>
            </p:cNvSpPr>
            <p:nvPr/>
          </p:nvSpPr>
          <p:spPr bwMode="auto">
            <a:xfrm rot="10800000" flipH="1">
              <a:off x="4000941" y="3465163"/>
              <a:ext cx="2160000" cy="1440000"/>
            </a:xfrm>
            <a:custGeom>
              <a:avLst/>
              <a:gdLst>
                <a:gd name="connsiteX0" fmla="*/ 1080000 w 2160000"/>
                <a:gd name="connsiteY0" fmla="*/ 0 h 1440000"/>
                <a:gd name="connsiteX1" fmla="*/ 2160000 w 2160000"/>
                <a:gd name="connsiteY1" fmla="*/ 1080000 h 1440000"/>
                <a:gd name="connsiteX2" fmla="*/ 1800000 w 2160000"/>
                <a:gd name="connsiteY2" fmla="*/ 1440000 h 1440000"/>
                <a:gd name="connsiteX3" fmla="*/ 1440000 w 2160000"/>
                <a:gd name="connsiteY3" fmla="*/ 1080000 h 1440000"/>
                <a:gd name="connsiteX4" fmla="*/ 1080000 w 2160000"/>
                <a:gd name="connsiteY4" fmla="*/ 720000 h 1440000"/>
                <a:gd name="connsiteX5" fmla="*/ 720000 w 2160000"/>
                <a:gd name="connsiteY5" fmla="*/ 1080000 h 1440000"/>
                <a:gd name="connsiteX6" fmla="*/ 0 w 2160000"/>
                <a:gd name="connsiteY6" fmla="*/ 1080000 h 1440000"/>
                <a:gd name="connsiteX7" fmla="*/ 1080000 w 2160000"/>
                <a:gd name="connsiteY7" fmla="*/ 0 h 14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0000" h="1440000">
                  <a:moveTo>
                    <a:pt x="1080000" y="0"/>
                  </a:moveTo>
                  <a:cubicBezTo>
                    <a:pt x="1676468" y="0"/>
                    <a:pt x="2160000" y="483532"/>
                    <a:pt x="2160000" y="1080000"/>
                  </a:cubicBezTo>
                  <a:lnTo>
                    <a:pt x="1800000" y="1440000"/>
                  </a:lnTo>
                  <a:lnTo>
                    <a:pt x="1440000" y="1080000"/>
                  </a:lnTo>
                  <a:cubicBezTo>
                    <a:pt x="1440000" y="881177"/>
                    <a:pt x="1278823" y="720000"/>
                    <a:pt x="1080000" y="720000"/>
                  </a:cubicBezTo>
                  <a:cubicBezTo>
                    <a:pt x="881177" y="720000"/>
                    <a:pt x="720000" y="881177"/>
                    <a:pt x="720000" y="1080000"/>
                  </a:cubicBezTo>
                  <a:lnTo>
                    <a:pt x="0" y="1080000"/>
                  </a:lnTo>
                  <a:cubicBezTo>
                    <a:pt x="0" y="483532"/>
                    <a:pt x="483532" y="0"/>
                    <a:pt x="1080000" y="0"/>
                  </a:cubicBezTo>
                  <a:close/>
                </a:path>
              </a:pathLst>
            </a:custGeom>
            <a:gradFill>
              <a:gsLst>
                <a:gs pos="70000">
                  <a:srgbClr val="647D2D">
                    <a:alpha val="60000"/>
                  </a:srgbClr>
                </a:gs>
                <a:gs pos="30000">
                  <a:srgbClr val="647D2D">
                    <a:alpha val="0"/>
                  </a:srgbClr>
                </a:gs>
              </a:gsLst>
              <a:lin ang="0" scaled="0"/>
            </a:gra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de-DE"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grpSp>
      <p:sp>
        <p:nvSpPr>
          <p:cNvPr id="39" name="Textfeld 80">
            <a:extLst>
              <a:ext uri="{FF2B5EF4-FFF2-40B4-BE49-F238E27FC236}">
                <a16:creationId xmlns:a16="http://schemas.microsoft.com/office/drawing/2014/main" id="{ADE5E42A-2D38-4BB9-A143-DAED991D5BDF}"/>
              </a:ext>
            </a:extLst>
          </p:cNvPr>
          <p:cNvSpPr txBox="1"/>
          <p:nvPr/>
        </p:nvSpPr>
        <p:spPr>
          <a:xfrm>
            <a:off x="5798766" y="1740929"/>
            <a:ext cx="3240000" cy="3240000"/>
          </a:xfrm>
          <a:prstGeom prst="rect">
            <a:avLst/>
          </a:prstGeom>
          <a:noFill/>
        </p:spPr>
        <p:txBody>
          <a:bodyPr wrap="none" lIns="0" tIns="0" rIns="0" bIns="0" rtlCol="0" anchor="ctr">
            <a:noAutofit/>
          </a:bodyPr>
          <a:lstStyle/>
          <a:p>
            <a:pPr marL="0" marR="0" lvl="0" indent="0" algn="ctr" defTabSz="914400" rtl="0" eaLnBrk="1" fontAlgn="base" latinLnBrk="0" hangingPunct="1">
              <a:lnSpc>
                <a:spcPct val="90000"/>
              </a:lnSpc>
              <a:spcBef>
                <a:spcPts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Real</a:t>
            </a:r>
            <a:b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br>
            <a: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world</a:t>
            </a:r>
          </a:p>
        </p:txBody>
      </p:sp>
      <p:sp>
        <p:nvSpPr>
          <p:cNvPr id="40" name="Textfeld 81">
            <a:extLst>
              <a:ext uri="{FF2B5EF4-FFF2-40B4-BE49-F238E27FC236}">
                <a16:creationId xmlns:a16="http://schemas.microsoft.com/office/drawing/2014/main" id="{2BD4C3EF-7F5F-413C-9775-02E69DC0F50B}"/>
              </a:ext>
            </a:extLst>
          </p:cNvPr>
          <p:cNvSpPr txBox="1"/>
          <p:nvPr/>
        </p:nvSpPr>
        <p:spPr>
          <a:xfrm>
            <a:off x="3389674" y="1750600"/>
            <a:ext cx="3240000" cy="3240000"/>
          </a:xfrm>
          <a:prstGeom prst="rect">
            <a:avLst/>
          </a:prstGeom>
          <a:noFill/>
        </p:spPr>
        <p:txBody>
          <a:bodyPr wrap="none" lIns="0" tIns="0" rIns="0" bIns="0" rtlCol="0" anchor="ctr">
            <a:noAutofit/>
          </a:bodyPr>
          <a:lstStyle/>
          <a:p>
            <a:pPr marL="0" marR="0" lvl="0" indent="0" algn="ctr" defTabSz="914400" rtl="0" eaLnBrk="1" fontAlgn="base" latinLnBrk="0" hangingPunct="1">
              <a:lnSpc>
                <a:spcPct val="90000"/>
              </a:lnSpc>
              <a:spcBef>
                <a:spcPts val="0"/>
              </a:spcBef>
              <a:spcAft>
                <a:spcPct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Virtual</a:t>
            </a:r>
            <a:b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br>
            <a:r>
              <a:rPr kumimoji="0" lang="en-US" sz="2800" b="1" i="0" u="none" strike="noStrike" kern="1200" cap="none" spc="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world</a:t>
            </a:r>
          </a:p>
        </p:txBody>
      </p:sp>
      <p:grpSp>
        <p:nvGrpSpPr>
          <p:cNvPr id="41" name="Gruppieren 82">
            <a:extLst>
              <a:ext uri="{FF2B5EF4-FFF2-40B4-BE49-F238E27FC236}">
                <a16:creationId xmlns:a16="http://schemas.microsoft.com/office/drawing/2014/main" id="{F2D48C49-4654-496B-9523-7D67CFE38EE6}"/>
              </a:ext>
            </a:extLst>
          </p:cNvPr>
          <p:cNvGrpSpPr/>
          <p:nvPr/>
        </p:nvGrpSpPr>
        <p:grpSpPr>
          <a:xfrm>
            <a:off x="3386513" y="3361209"/>
            <a:ext cx="4212433" cy="1619736"/>
            <a:chOff x="3273056" y="3825044"/>
            <a:chExt cx="4212433" cy="1619736"/>
          </a:xfrm>
        </p:grpSpPr>
        <p:sp>
          <p:nvSpPr>
            <p:cNvPr id="42" name="Freihandform: Form 83">
              <a:extLst>
                <a:ext uri="{FF2B5EF4-FFF2-40B4-BE49-F238E27FC236}">
                  <a16:creationId xmlns:a16="http://schemas.microsoft.com/office/drawing/2014/main" id="{F5229A41-CEF1-47FA-802A-74B09DB492DF}"/>
                </a:ext>
              </a:extLst>
            </p:cNvPr>
            <p:cNvSpPr/>
            <p:nvPr/>
          </p:nvSpPr>
          <p:spPr bwMode="auto">
            <a:xfrm>
              <a:off x="3273056" y="3825044"/>
              <a:ext cx="4212433" cy="1619736"/>
            </a:xfrm>
            <a:custGeom>
              <a:avLst/>
              <a:gdLst>
                <a:gd name="connsiteX0" fmla="*/ 2983505 w 4212433"/>
                <a:gd name="connsiteY0" fmla="*/ 872260 h 1619736"/>
                <a:gd name="connsiteX1" fmla="*/ 2963316 w 4212433"/>
                <a:gd name="connsiteY1" fmla="*/ 905493 h 1619736"/>
                <a:gd name="connsiteX2" fmla="*/ 2957910 w 4212433"/>
                <a:gd name="connsiteY2" fmla="*/ 912722 h 1619736"/>
                <a:gd name="connsiteX3" fmla="*/ 3061416 w 4212433"/>
                <a:gd name="connsiteY3" fmla="*/ 736728 h 1619736"/>
                <a:gd name="connsiteX4" fmla="*/ 3044461 w 4212433"/>
                <a:gd name="connsiteY4" fmla="*/ 771924 h 1619736"/>
                <a:gd name="connsiteX5" fmla="*/ 3035179 w 4212433"/>
                <a:gd name="connsiteY5" fmla="*/ 787202 h 1619736"/>
                <a:gd name="connsiteX6" fmla="*/ 3124265 w 4212433"/>
                <a:gd name="connsiteY6" fmla="*/ 598657 h 1619736"/>
                <a:gd name="connsiteX7" fmla="*/ 3112679 w 4212433"/>
                <a:gd name="connsiteY7" fmla="*/ 630313 h 1619736"/>
                <a:gd name="connsiteX8" fmla="*/ 3101220 w 4212433"/>
                <a:gd name="connsiteY8" fmla="*/ 654101 h 1619736"/>
                <a:gd name="connsiteX9" fmla="*/ 3173746 w 4212433"/>
                <a:gd name="connsiteY9" fmla="*/ 455839 h 1619736"/>
                <a:gd name="connsiteX10" fmla="*/ 3167154 w 4212433"/>
                <a:gd name="connsiteY10" fmla="*/ 481475 h 1619736"/>
                <a:gd name="connsiteX11" fmla="*/ 3155378 w 4212433"/>
                <a:gd name="connsiteY11" fmla="*/ 513650 h 1619736"/>
                <a:gd name="connsiteX12" fmla="*/ 3209832 w 4212433"/>
                <a:gd name="connsiteY12" fmla="*/ 308148 h 1619736"/>
                <a:gd name="connsiteX13" fmla="*/ 3207074 w 4212433"/>
                <a:gd name="connsiteY13" fmla="*/ 326223 h 1619736"/>
                <a:gd name="connsiteX14" fmla="*/ 3196998 w 4212433"/>
                <a:gd name="connsiteY14" fmla="*/ 365409 h 1619736"/>
                <a:gd name="connsiteX15" fmla="*/ 3232099 w 4212433"/>
                <a:gd name="connsiteY15" fmla="*/ 155941 h 1619736"/>
                <a:gd name="connsiteX16" fmla="*/ 3231622 w 4212433"/>
                <a:gd name="connsiteY16" fmla="*/ 165372 h 1619736"/>
                <a:gd name="connsiteX17" fmla="*/ 3225420 w 4212433"/>
                <a:gd name="connsiteY17" fmla="*/ 206014 h 1619736"/>
                <a:gd name="connsiteX18" fmla="*/ 0 w 4212433"/>
                <a:gd name="connsiteY18" fmla="*/ 0 h 1619736"/>
                <a:gd name="connsiteX19" fmla="*/ 540013 w 4212433"/>
                <a:gd name="connsiteY19" fmla="*/ 0 h 1619736"/>
                <a:gd name="connsiteX20" fmla="*/ 561928 w 4212433"/>
                <a:gd name="connsiteY20" fmla="*/ 217394 h 1619736"/>
                <a:gd name="connsiteX21" fmla="*/ 1619986 w 4212433"/>
                <a:gd name="connsiteY21" fmla="*/ 1079736 h 1619736"/>
                <a:gd name="connsiteX22" fmla="*/ 1621848 w 4212433"/>
                <a:gd name="connsiteY22" fmla="*/ 1079736 h 1619736"/>
                <a:gd name="connsiteX23" fmla="*/ 1696365 w 4212433"/>
                <a:gd name="connsiteY23" fmla="*/ 1079736 h 1619736"/>
                <a:gd name="connsiteX24" fmla="*/ 2161848 w 4212433"/>
                <a:gd name="connsiteY24" fmla="*/ 1079736 h 1619736"/>
                <a:gd name="connsiteX25" fmla="*/ 2825041 w 4212433"/>
                <a:gd name="connsiteY25" fmla="*/ 1079736 h 1619736"/>
                <a:gd name="connsiteX26" fmla="*/ 4032433 w 4212433"/>
                <a:gd name="connsiteY26" fmla="*/ 1079736 h 1619736"/>
                <a:gd name="connsiteX27" fmla="*/ 4212433 w 4212433"/>
                <a:gd name="connsiteY27" fmla="*/ 1349736 h 1619736"/>
                <a:gd name="connsiteX28" fmla="*/ 4032433 w 4212433"/>
                <a:gd name="connsiteY28" fmla="*/ 1619736 h 1619736"/>
                <a:gd name="connsiteX29" fmla="*/ 2161848 w 4212433"/>
                <a:gd name="connsiteY29" fmla="*/ 1619736 h 1619736"/>
                <a:gd name="connsiteX30" fmla="*/ 1696365 w 4212433"/>
                <a:gd name="connsiteY30" fmla="*/ 1619736 h 1619736"/>
                <a:gd name="connsiteX31" fmla="*/ 1621848 w 4212433"/>
                <a:gd name="connsiteY31" fmla="*/ 1619736 h 1619736"/>
                <a:gd name="connsiteX32" fmla="*/ 1621848 w 4212433"/>
                <a:gd name="connsiteY32" fmla="*/ 1619642 h 1619736"/>
                <a:gd name="connsiteX33" fmla="*/ 1619986 w 4212433"/>
                <a:gd name="connsiteY33" fmla="*/ 1619736 h 1619736"/>
                <a:gd name="connsiteX34" fmla="*/ 8350 w 4212433"/>
                <a:gd name="connsiteY34" fmla="*/ 165372 h 1619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212433" h="1619736">
                  <a:moveTo>
                    <a:pt x="2983505" y="872260"/>
                  </a:moveTo>
                  <a:lnTo>
                    <a:pt x="2963316" y="905493"/>
                  </a:lnTo>
                  <a:lnTo>
                    <a:pt x="2957910" y="912722"/>
                  </a:lnTo>
                  <a:close/>
                  <a:moveTo>
                    <a:pt x="3061416" y="736728"/>
                  </a:moveTo>
                  <a:lnTo>
                    <a:pt x="3044461" y="771924"/>
                  </a:lnTo>
                  <a:lnTo>
                    <a:pt x="3035179" y="787202"/>
                  </a:lnTo>
                  <a:close/>
                  <a:moveTo>
                    <a:pt x="3124265" y="598657"/>
                  </a:moveTo>
                  <a:lnTo>
                    <a:pt x="3112679" y="630313"/>
                  </a:lnTo>
                  <a:lnTo>
                    <a:pt x="3101220" y="654101"/>
                  </a:lnTo>
                  <a:close/>
                  <a:moveTo>
                    <a:pt x="3173746" y="455839"/>
                  </a:moveTo>
                  <a:lnTo>
                    <a:pt x="3167154" y="481475"/>
                  </a:lnTo>
                  <a:lnTo>
                    <a:pt x="3155378" y="513650"/>
                  </a:lnTo>
                  <a:close/>
                  <a:moveTo>
                    <a:pt x="3209832" y="308148"/>
                  </a:moveTo>
                  <a:lnTo>
                    <a:pt x="3207074" y="326223"/>
                  </a:lnTo>
                  <a:lnTo>
                    <a:pt x="3196998" y="365409"/>
                  </a:lnTo>
                  <a:close/>
                  <a:moveTo>
                    <a:pt x="3232099" y="155941"/>
                  </a:moveTo>
                  <a:lnTo>
                    <a:pt x="3231622" y="165372"/>
                  </a:lnTo>
                  <a:lnTo>
                    <a:pt x="3225420" y="206014"/>
                  </a:lnTo>
                  <a:close/>
                  <a:moveTo>
                    <a:pt x="0" y="0"/>
                  </a:moveTo>
                  <a:lnTo>
                    <a:pt x="540013" y="0"/>
                  </a:lnTo>
                  <a:lnTo>
                    <a:pt x="561928" y="217394"/>
                  </a:lnTo>
                  <a:cubicBezTo>
                    <a:pt x="662634" y="709532"/>
                    <a:pt x="1098077" y="1079736"/>
                    <a:pt x="1619986" y="1079736"/>
                  </a:cubicBezTo>
                  <a:lnTo>
                    <a:pt x="1621848" y="1079736"/>
                  </a:lnTo>
                  <a:lnTo>
                    <a:pt x="1696365" y="1079736"/>
                  </a:lnTo>
                  <a:lnTo>
                    <a:pt x="2161848" y="1079736"/>
                  </a:lnTo>
                  <a:lnTo>
                    <a:pt x="2825041" y="1079736"/>
                  </a:lnTo>
                  <a:lnTo>
                    <a:pt x="4032433" y="1079736"/>
                  </a:lnTo>
                  <a:lnTo>
                    <a:pt x="4212433" y="1349736"/>
                  </a:lnTo>
                  <a:lnTo>
                    <a:pt x="4032433" y="1619736"/>
                  </a:lnTo>
                  <a:lnTo>
                    <a:pt x="2161848" y="1619736"/>
                  </a:lnTo>
                  <a:lnTo>
                    <a:pt x="1696365" y="1619736"/>
                  </a:lnTo>
                  <a:lnTo>
                    <a:pt x="1621848" y="1619736"/>
                  </a:lnTo>
                  <a:lnTo>
                    <a:pt x="1621848" y="1619642"/>
                  </a:lnTo>
                  <a:lnTo>
                    <a:pt x="1619986" y="1619736"/>
                  </a:lnTo>
                  <a:cubicBezTo>
                    <a:pt x="781204" y="1619736"/>
                    <a:pt x="91310" y="982266"/>
                    <a:pt x="8350" y="165372"/>
                  </a:cubicBezTo>
                  <a:close/>
                </a:path>
              </a:pathLst>
            </a:custGeom>
            <a:gradFill>
              <a:gsLst>
                <a:gs pos="5000">
                  <a:srgbClr val="879628">
                    <a:alpha val="0"/>
                  </a:srgbClr>
                </a:gs>
                <a:gs pos="50000">
                  <a:srgbClr val="879628">
                    <a:alpha val="85000"/>
                  </a:srgbClr>
                </a:gs>
              </a:gsLst>
              <a:lin ang="2700000" scaled="0"/>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sp>
          <p:nvSpPr>
            <p:cNvPr id="43" name="Textfeld 84">
              <a:extLst>
                <a:ext uri="{FF2B5EF4-FFF2-40B4-BE49-F238E27FC236}">
                  <a16:creationId xmlns:a16="http://schemas.microsoft.com/office/drawing/2014/main" id="{F9EC78EA-FFA5-4C1D-9BFC-0072452EF9F1}"/>
                </a:ext>
              </a:extLst>
            </p:cNvPr>
            <p:cNvSpPr txBox="1"/>
            <p:nvPr/>
          </p:nvSpPr>
          <p:spPr>
            <a:xfrm>
              <a:off x="5324123" y="4904780"/>
              <a:ext cx="1550104" cy="540000"/>
            </a:xfrm>
            <a:prstGeom prst="rect">
              <a:avLst/>
            </a:prstGeom>
            <a:noFill/>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1" i="0" u="none" strike="noStrike" kern="1200" cap="none" spc="-50" normalizeH="0" baseline="0" noProof="0" dirty="0">
                  <a:ln>
                    <a:noFill/>
                  </a:ln>
                  <a:solidFill>
                    <a:srgbClr val="FFFFFF"/>
                  </a:solidFill>
                  <a:effectLst/>
                  <a:uLnTx/>
                  <a:uFillTx/>
                  <a:latin typeface="Arial"/>
                  <a:ea typeface="Arial" panose="020B0604020202020204" pitchFamily="34" charset="-128"/>
                  <a:cs typeface="Arial" panose="020B0604020202020204" pitchFamily="34" charset="-128"/>
                </a:rPr>
                <a:t>Realize and optimize</a:t>
              </a:r>
            </a:p>
          </p:txBody>
        </p:sp>
      </p:grpSp>
      <p:grpSp>
        <p:nvGrpSpPr>
          <p:cNvPr id="44" name="Gruppieren 85">
            <a:extLst>
              <a:ext uri="{FF2B5EF4-FFF2-40B4-BE49-F238E27FC236}">
                <a16:creationId xmlns:a16="http://schemas.microsoft.com/office/drawing/2014/main" id="{4DE7AE2E-C8D3-45BA-ADAB-663A89AC0DAF}"/>
              </a:ext>
            </a:extLst>
          </p:cNvPr>
          <p:cNvGrpSpPr/>
          <p:nvPr/>
        </p:nvGrpSpPr>
        <p:grpSpPr>
          <a:xfrm>
            <a:off x="4826333" y="1740945"/>
            <a:ext cx="4212433" cy="1619737"/>
            <a:chOff x="4712876" y="2203085"/>
            <a:chExt cx="4212433" cy="1619737"/>
          </a:xfrm>
        </p:grpSpPr>
        <p:sp>
          <p:nvSpPr>
            <p:cNvPr id="45" name="Freihandform: Form 86">
              <a:extLst>
                <a:ext uri="{FF2B5EF4-FFF2-40B4-BE49-F238E27FC236}">
                  <a16:creationId xmlns:a16="http://schemas.microsoft.com/office/drawing/2014/main" id="{77D78767-3754-426A-BA0D-FD7FF32023E0}"/>
                </a:ext>
              </a:extLst>
            </p:cNvPr>
            <p:cNvSpPr/>
            <p:nvPr/>
          </p:nvSpPr>
          <p:spPr bwMode="auto">
            <a:xfrm>
              <a:off x="4712876" y="2203085"/>
              <a:ext cx="4212433" cy="1619737"/>
            </a:xfrm>
            <a:custGeom>
              <a:avLst/>
              <a:gdLst>
                <a:gd name="connsiteX0" fmla="*/ 987013 w 4212433"/>
                <a:gd name="connsiteY0" fmla="*/ 1413723 h 1619737"/>
                <a:gd name="connsiteX1" fmla="*/ 980334 w 4212433"/>
                <a:gd name="connsiteY1" fmla="*/ 1463796 h 1619737"/>
                <a:gd name="connsiteX2" fmla="*/ 980811 w 4212433"/>
                <a:gd name="connsiteY2" fmla="*/ 1454365 h 1619737"/>
                <a:gd name="connsiteX3" fmla="*/ 1015435 w 4212433"/>
                <a:gd name="connsiteY3" fmla="*/ 1254328 h 1619737"/>
                <a:gd name="connsiteX4" fmla="*/ 1002601 w 4212433"/>
                <a:gd name="connsiteY4" fmla="*/ 1311589 h 1619737"/>
                <a:gd name="connsiteX5" fmla="*/ 1005359 w 4212433"/>
                <a:gd name="connsiteY5" fmla="*/ 1293514 h 1619737"/>
                <a:gd name="connsiteX6" fmla="*/ 1057055 w 4212433"/>
                <a:gd name="connsiteY6" fmla="*/ 1106087 h 1619737"/>
                <a:gd name="connsiteX7" fmla="*/ 1038687 w 4212433"/>
                <a:gd name="connsiteY7" fmla="*/ 1163898 h 1619737"/>
                <a:gd name="connsiteX8" fmla="*/ 1045279 w 4212433"/>
                <a:gd name="connsiteY8" fmla="*/ 1138262 h 1619737"/>
                <a:gd name="connsiteX9" fmla="*/ 1111213 w 4212433"/>
                <a:gd name="connsiteY9" fmla="*/ 965636 h 1619737"/>
                <a:gd name="connsiteX10" fmla="*/ 1088168 w 4212433"/>
                <a:gd name="connsiteY10" fmla="*/ 1021080 h 1619737"/>
                <a:gd name="connsiteX11" fmla="*/ 1099754 w 4212433"/>
                <a:gd name="connsiteY11" fmla="*/ 989424 h 1619737"/>
                <a:gd name="connsiteX12" fmla="*/ 1177254 w 4212433"/>
                <a:gd name="connsiteY12" fmla="*/ 832535 h 1619737"/>
                <a:gd name="connsiteX13" fmla="*/ 1151017 w 4212433"/>
                <a:gd name="connsiteY13" fmla="*/ 883009 h 1619737"/>
                <a:gd name="connsiteX14" fmla="*/ 1167972 w 4212433"/>
                <a:gd name="connsiteY14" fmla="*/ 847813 h 1619737"/>
                <a:gd name="connsiteX15" fmla="*/ 1254523 w 4212433"/>
                <a:gd name="connsiteY15" fmla="*/ 707015 h 1619737"/>
                <a:gd name="connsiteX16" fmla="*/ 1228928 w 4212433"/>
                <a:gd name="connsiteY16" fmla="*/ 747477 h 1619737"/>
                <a:gd name="connsiteX17" fmla="*/ 1249117 w 4212433"/>
                <a:gd name="connsiteY17" fmla="*/ 714244 h 1619737"/>
                <a:gd name="connsiteX18" fmla="*/ 2052433 w 4212433"/>
                <a:gd name="connsiteY18" fmla="*/ 0 h 1619737"/>
                <a:gd name="connsiteX19" fmla="*/ 2592433 w 4212433"/>
                <a:gd name="connsiteY19" fmla="*/ 0 h 1619737"/>
                <a:gd name="connsiteX20" fmla="*/ 2592433 w 4212433"/>
                <a:gd name="connsiteY20" fmla="*/ 2 h 1619737"/>
                <a:gd name="connsiteX21" fmla="*/ 2592447 w 4212433"/>
                <a:gd name="connsiteY21" fmla="*/ 1 h 1619737"/>
                <a:gd name="connsiteX22" fmla="*/ 4204083 w 4212433"/>
                <a:gd name="connsiteY22" fmla="*/ 1454365 h 1619737"/>
                <a:gd name="connsiteX23" fmla="*/ 4212433 w 4212433"/>
                <a:gd name="connsiteY23" fmla="*/ 1619737 h 1619737"/>
                <a:gd name="connsiteX24" fmla="*/ 3672420 w 4212433"/>
                <a:gd name="connsiteY24" fmla="*/ 1619737 h 1619737"/>
                <a:gd name="connsiteX25" fmla="*/ 3650505 w 4212433"/>
                <a:gd name="connsiteY25" fmla="*/ 1402343 h 1619737"/>
                <a:gd name="connsiteX26" fmla="*/ 2592447 w 4212433"/>
                <a:gd name="connsiteY26" fmla="*/ 540001 h 1619737"/>
                <a:gd name="connsiteX27" fmla="*/ 2516068 w 4212433"/>
                <a:gd name="connsiteY27" fmla="*/ 540001 h 1619737"/>
                <a:gd name="connsiteX28" fmla="*/ 1387392 w 4212433"/>
                <a:gd name="connsiteY28" fmla="*/ 540001 h 1619737"/>
                <a:gd name="connsiteX29" fmla="*/ 180000 w 4212433"/>
                <a:gd name="connsiteY29" fmla="*/ 540001 h 1619737"/>
                <a:gd name="connsiteX30" fmla="*/ 0 w 4212433"/>
                <a:gd name="connsiteY30" fmla="*/ 270001 h 1619737"/>
                <a:gd name="connsiteX31" fmla="*/ 180000 w 4212433"/>
                <a:gd name="connsiteY31" fmla="*/ 1 h 1619737"/>
                <a:gd name="connsiteX32" fmla="*/ 2052433 w 4212433"/>
                <a:gd name="connsiteY32" fmla="*/ 1 h 161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212433" h="1619737">
                  <a:moveTo>
                    <a:pt x="987013" y="1413723"/>
                  </a:moveTo>
                  <a:lnTo>
                    <a:pt x="980334" y="1463796"/>
                  </a:lnTo>
                  <a:lnTo>
                    <a:pt x="980811" y="1454365"/>
                  </a:lnTo>
                  <a:close/>
                  <a:moveTo>
                    <a:pt x="1015435" y="1254328"/>
                  </a:moveTo>
                  <a:lnTo>
                    <a:pt x="1002601" y="1311589"/>
                  </a:lnTo>
                  <a:lnTo>
                    <a:pt x="1005359" y="1293514"/>
                  </a:lnTo>
                  <a:close/>
                  <a:moveTo>
                    <a:pt x="1057055" y="1106087"/>
                  </a:moveTo>
                  <a:lnTo>
                    <a:pt x="1038687" y="1163898"/>
                  </a:lnTo>
                  <a:lnTo>
                    <a:pt x="1045279" y="1138262"/>
                  </a:lnTo>
                  <a:close/>
                  <a:moveTo>
                    <a:pt x="1111213" y="965636"/>
                  </a:moveTo>
                  <a:lnTo>
                    <a:pt x="1088168" y="1021080"/>
                  </a:lnTo>
                  <a:lnTo>
                    <a:pt x="1099754" y="989424"/>
                  </a:lnTo>
                  <a:close/>
                  <a:moveTo>
                    <a:pt x="1177254" y="832535"/>
                  </a:moveTo>
                  <a:lnTo>
                    <a:pt x="1151017" y="883009"/>
                  </a:lnTo>
                  <a:lnTo>
                    <a:pt x="1167972" y="847813"/>
                  </a:lnTo>
                  <a:close/>
                  <a:moveTo>
                    <a:pt x="1254523" y="707015"/>
                  </a:moveTo>
                  <a:lnTo>
                    <a:pt x="1228928" y="747477"/>
                  </a:lnTo>
                  <a:lnTo>
                    <a:pt x="1249117" y="714244"/>
                  </a:lnTo>
                  <a:close/>
                  <a:moveTo>
                    <a:pt x="2052433" y="0"/>
                  </a:moveTo>
                  <a:lnTo>
                    <a:pt x="2592433" y="0"/>
                  </a:lnTo>
                  <a:lnTo>
                    <a:pt x="2592433" y="2"/>
                  </a:lnTo>
                  <a:lnTo>
                    <a:pt x="2592447" y="1"/>
                  </a:lnTo>
                  <a:cubicBezTo>
                    <a:pt x="3431229" y="1"/>
                    <a:pt x="4121123" y="637471"/>
                    <a:pt x="4204083" y="1454365"/>
                  </a:cubicBezTo>
                  <a:lnTo>
                    <a:pt x="4212433" y="1619737"/>
                  </a:lnTo>
                  <a:lnTo>
                    <a:pt x="3672420" y="1619737"/>
                  </a:lnTo>
                  <a:lnTo>
                    <a:pt x="3650505" y="1402343"/>
                  </a:lnTo>
                  <a:cubicBezTo>
                    <a:pt x="3549799" y="910205"/>
                    <a:pt x="3114356" y="540001"/>
                    <a:pt x="2592447" y="540001"/>
                  </a:cubicBezTo>
                  <a:lnTo>
                    <a:pt x="2516068" y="540001"/>
                  </a:lnTo>
                  <a:lnTo>
                    <a:pt x="1387392" y="540001"/>
                  </a:lnTo>
                  <a:lnTo>
                    <a:pt x="180000" y="540001"/>
                  </a:lnTo>
                  <a:lnTo>
                    <a:pt x="0" y="270001"/>
                  </a:lnTo>
                  <a:lnTo>
                    <a:pt x="180000" y="1"/>
                  </a:lnTo>
                  <a:lnTo>
                    <a:pt x="2052433" y="1"/>
                  </a:lnTo>
                  <a:close/>
                </a:path>
              </a:pathLst>
            </a:custGeom>
            <a:gradFill>
              <a:gsLst>
                <a:gs pos="100000">
                  <a:srgbClr val="005F87">
                    <a:alpha val="0"/>
                  </a:srgbClr>
                </a:gs>
                <a:gs pos="30000">
                  <a:srgbClr val="005F87">
                    <a:alpha val="85000"/>
                  </a:srgbClr>
                </a:gs>
              </a:gsLst>
              <a:lin ang="5400000" scaled="0"/>
            </a:gra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cs typeface="Arial" panose="020B0604020202020204" pitchFamily="34" charset="-128"/>
              </a:endParaRPr>
            </a:p>
          </p:txBody>
        </p:sp>
        <p:sp>
          <p:nvSpPr>
            <p:cNvPr id="46" name="Textfeld 87">
              <a:extLst>
                <a:ext uri="{FF2B5EF4-FFF2-40B4-BE49-F238E27FC236}">
                  <a16:creationId xmlns:a16="http://schemas.microsoft.com/office/drawing/2014/main" id="{A03FDE56-F698-46D7-A885-C745495B5A65}"/>
                </a:ext>
              </a:extLst>
            </p:cNvPr>
            <p:cNvSpPr txBox="1"/>
            <p:nvPr/>
          </p:nvSpPr>
          <p:spPr>
            <a:xfrm>
              <a:off x="5016347" y="2203085"/>
              <a:ext cx="2165657" cy="540000"/>
            </a:xfrm>
            <a:prstGeom prst="rect">
              <a:avLst/>
            </a:prstGeom>
            <a:noFill/>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1" i="0" u="none" strike="noStrike" kern="1200" cap="none" spc="-50" normalizeH="0" baseline="0" noProof="0" dirty="0">
                  <a:ln>
                    <a:noFill/>
                  </a:ln>
                  <a:solidFill>
                    <a:srgbClr val="FFFFFF"/>
                  </a:solidFill>
                  <a:effectLst/>
                  <a:uLnTx/>
                  <a:uFillTx/>
                  <a:latin typeface="Arial"/>
                  <a:cs typeface="Arial" panose="020B0604020202020204" pitchFamily="34" charset="-128"/>
                </a:rPr>
                <a:t>Performance data</a:t>
              </a:r>
            </a:p>
          </p:txBody>
        </p:sp>
      </p:grpSp>
      <p:sp>
        <p:nvSpPr>
          <p:cNvPr id="47" name="Rechteck 64">
            <a:extLst>
              <a:ext uri="{FF2B5EF4-FFF2-40B4-BE49-F238E27FC236}">
                <a16:creationId xmlns:a16="http://schemas.microsoft.com/office/drawing/2014/main" id="{3E5D505E-5B16-4996-BBB8-E83D042643D7}"/>
              </a:ext>
            </a:extLst>
          </p:cNvPr>
          <p:cNvSpPr/>
          <p:nvPr/>
        </p:nvSpPr>
        <p:spPr bwMode="auto">
          <a:xfrm>
            <a:off x="612946" y="1869048"/>
            <a:ext cx="2965829" cy="467944"/>
          </a:xfrm>
          <a:prstGeom prst="rect">
            <a:avLst/>
          </a:prstGeom>
          <a:solidFill>
            <a:srgbClr val="AAB414"/>
          </a:solidFill>
          <a:ln w="76200">
            <a:noFill/>
          </a:ln>
          <a:effectLst/>
        </p:spPr>
        <p:txBody>
          <a:bodyPr wrap="square" lIns="107975" tIns="53988" rIns="107975" bIns="53988" numCol="1" spcCol="72000" rtlCol="0" anchor="ctr">
            <a:noAutofit/>
          </a:bodyPr>
          <a:lstStyle/>
          <a:p>
            <a:pPr algn="ctr">
              <a:lnSpc>
                <a:spcPct val="110000"/>
              </a:lnSpc>
              <a:spcBef>
                <a:spcPct val="0"/>
              </a:spcBef>
              <a:buFont typeface="Wingdings" charset="0"/>
              <a:buNone/>
            </a:pPr>
            <a:r>
              <a:rPr lang="en-US" b="1" dirty="0">
                <a:solidFill>
                  <a:schemeClr val="tx1"/>
                </a:solidFill>
                <a:latin typeface="+mn-lt"/>
                <a:ea typeface="Arial Unicode MS" panose="020B0604020202020204" pitchFamily="34" charset="-128"/>
                <a:cs typeface="Arial Unicode MS" panose="020B0604020202020204" pitchFamily="34" charset="-128"/>
              </a:rPr>
              <a:t>Integrated Engineering</a:t>
            </a:r>
            <a:endParaRPr lang="en-US" b="1" baseline="30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8" name="Rechteck 65">
            <a:extLst>
              <a:ext uri="{FF2B5EF4-FFF2-40B4-BE49-F238E27FC236}">
                <a16:creationId xmlns:a16="http://schemas.microsoft.com/office/drawing/2014/main" id="{780839E8-1AD8-4079-A6DC-3ADAA3E4E8A7}"/>
              </a:ext>
            </a:extLst>
          </p:cNvPr>
          <p:cNvSpPr/>
          <p:nvPr/>
        </p:nvSpPr>
        <p:spPr bwMode="auto">
          <a:xfrm>
            <a:off x="985917" y="3891553"/>
            <a:ext cx="1961709" cy="467944"/>
          </a:xfrm>
          <a:prstGeom prst="rect">
            <a:avLst/>
          </a:prstGeom>
          <a:solidFill>
            <a:srgbClr val="AAB414"/>
          </a:solidFill>
          <a:ln>
            <a:noFill/>
          </a:ln>
          <a:effectLst/>
        </p:spPr>
        <p:txBody>
          <a:bodyPr wrap="square" lIns="107975" tIns="53988" rIns="107975" bIns="53988" numCol="1" spcCol="72000" rtlCol="0" anchor="ctr">
            <a:noAutofit/>
          </a:bodyPr>
          <a:lstStyle/>
          <a:p>
            <a:pPr algn="ctr">
              <a:lnSpc>
                <a:spcPct val="110000"/>
              </a:lnSpc>
              <a:spcBef>
                <a:spcPct val="0"/>
              </a:spcBef>
              <a:buFont typeface="Wingdings" charset="0"/>
              <a:buNone/>
            </a:pPr>
            <a:r>
              <a:rPr lang="en-US" b="1" dirty="0">
                <a:solidFill>
                  <a:schemeClr val="tx1"/>
                </a:solidFill>
                <a:latin typeface="+mn-lt"/>
                <a:ea typeface="Arial Unicode MS" panose="020B0604020202020204" pitchFamily="34" charset="-128"/>
                <a:cs typeface="Arial Unicode MS" panose="020B0604020202020204" pitchFamily="34" charset="-128"/>
              </a:rPr>
              <a:t>Simulation</a:t>
            </a:r>
            <a:endParaRPr lang="en-US" b="1" baseline="30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49" name="Rechteck 66">
            <a:extLst>
              <a:ext uri="{FF2B5EF4-FFF2-40B4-BE49-F238E27FC236}">
                <a16:creationId xmlns:a16="http://schemas.microsoft.com/office/drawing/2014/main" id="{4BC0BB59-82D0-4DBF-A26D-2A0764BC8C3D}"/>
              </a:ext>
            </a:extLst>
          </p:cNvPr>
          <p:cNvSpPr/>
          <p:nvPr/>
        </p:nvSpPr>
        <p:spPr bwMode="auto">
          <a:xfrm>
            <a:off x="8913469" y="4411223"/>
            <a:ext cx="2986696" cy="467944"/>
          </a:xfrm>
          <a:prstGeom prst="rect">
            <a:avLst/>
          </a:prstGeom>
          <a:solidFill>
            <a:srgbClr val="005F87"/>
          </a:solidFill>
          <a:ln w="76200">
            <a:noFill/>
          </a:ln>
          <a:effectLst/>
        </p:spPr>
        <p:txBody>
          <a:bodyPr wrap="square" lIns="107975" tIns="53988" rIns="107975" bIns="53988" numCol="1" spcCol="72000" rtlCol="0" anchor="ctr">
            <a:noAutofit/>
          </a:bodyPr>
          <a:lstStyle/>
          <a:p>
            <a:pPr algn="ctr">
              <a:lnSpc>
                <a:spcPct val="110000"/>
              </a:lnSpc>
              <a:spcBef>
                <a:spcPct val="0"/>
              </a:spcBef>
            </a:pPr>
            <a:r>
              <a:rPr lang="en-US" b="1" dirty="0">
                <a:solidFill>
                  <a:schemeClr val="tx1"/>
                </a:solidFill>
                <a:latin typeface="+mn-lt"/>
                <a:ea typeface="Arial Unicode MS" panose="020B0604020202020204" pitchFamily="34" charset="-128"/>
                <a:cs typeface="Arial Unicode MS" panose="020B0604020202020204" pitchFamily="34" charset="-128"/>
              </a:rPr>
              <a:t>Future of Automation</a:t>
            </a:r>
          </a:p>
        </p:txBody>
      </p:sp>
      <p:sp>
        <p:nvSpPr>
          <p:cNvPr id="50" name="Rechteck 67">
            <a:extLst>
              <a:ext uri="{FF2B5EF4-FFF2-40B4-BE49-F238E27FC236}">
                <a16:creationId xmlns:a16="http://schemas.microsoft.com/office/drawing/2014/main" id="{68220C9C-44E6-4D97-85EB-26623980124E}"/>
              </a:ext>
            </a:extLst>
          </p:cNvPr>
          <p:cNvSpPr/>
          <p:nvPr/>
        </p:nvSpPr>
        <p:spPr bwMode="auto">
          <a:xfrm>
            <a:off x="9541061" y="2503512"/>
            <a:ext cx="2155325" cy="467944"/>
          </a:xfrm>
          <a:prstGeom prst="rect">
            <a:avLst/>
          </a:prstGeom>
          <a:solidFill>
            <a:srgbClr val="005F87"/>
          </a:solidFill>
          <a:ln>
            <a:noFill/>
          </a:ln>
          <a:effectLst/>
        </p:spPr>
        <p:txBody>
          <a:bodyPr wrap="square" lIns="107975" tIns="53988" rIns="107975" bIns="53988" numCol="1" spcCol="72000" rtlCol="0" anchor="ctr">
            <a:noAutofit/>
          </a:bodyPr>
          <a:lstStyle/>
          <a:p>
            <a:pPr algn="ctr">
              <a:lnSpc>
                <a:spcPct val="110000"/>
              </a:lnSpc>
              <a:spcBef>
                <a:spcPct val="0"/>
              </a:spcBef>
              <a:buFont typeface="Wingdings" charset="0"/>
              <a:buNone/>
            </a:pPr>
            <a:r>
              <a:rPr lang="en-US" b="1" dirty="0">
                <a:solidFill>
                  <a:schemeClr val="tx1"/>
                </a:solidFill>
                <a:latin typeface="+mn-lt"/>
                <a:ea typeface="Arial Unicode MS" panose="020B0604020202020204" pitchFamily="34" charset="-128"/>
                <a:cs typeface="Arial Unicode MS" panose="020B0604020202020204" pitchFamily="34" charset="-128"/>
              </a:rPr>
              <a:t>Connectivity</a:t>
            </a:r>
            <a:endParaRPr lang="en-US" b="1" baseline="30000" dirty="0">
              <a:solidFill>
                <a:schemeClr val="tx1"/>
              </a:solidFill>
              <a:latin typeface="+mn-lt"/>
              <a:ea typeface="Arial Unicode MS" panose="020B0604020202020204" pitchFamily="34" charset="-128"/>
              <a:cs typeface="Arial Unicode MS" panose="020B0604020202020204" pitchFamily="34" charset="-128"/>
            </a:endParaRPr>
          </a:p>
        </p:txBody>
      </p:sp>
      <p:sp>
        <p:nvSpPr>
          <p:cNvPr id="51" name="Rechteck 68">
            <a:extLst>
              <a:ext uri="{FF2B5EF4-FFF2-40B4-BE49-F238E27FC236}">
                <a16:creationId xmlns:a16="http://schemas.microsoft.com/office/drawing/2014/main" id="{7B30C9FA-D4D7-47E2-9915-54AB17ED87AE}"/>
              </a:ext>
            </a:extLst>
          </p:cNvPr>
          <p:cNvSpPr/>
          <p:nvPr/>
        </p:nvSpPr>
        <p:spPr bwMode="auto">
          <a:xfrm>
            <a:off x="3495440" y="5440390"/>
            <a:ext cx="3041813" cy="467944"/>
          </a:xfrm>
          <a:prstGeom prst="rect">
            <a:avLst/>
          </a:prstGeom>
          <a:solidFill>
            <a:srgbClr val="AAB414"/>
          </a:solidFill>
          <a:ln w="76200">
            <a:noFill/>
          </a:ln>
          <a:effectLst/>
        </p:spPr>
        <p:txBody>
          <a:bodyPr wrap="square" lIns="107975" tIns="53988" rIns="107975" bIns="53988" numCol="1" spcCol="72000" rtlCol="0" anchor="ctr">
            <a:noAutofit/>
          </a:bodyPr>
          <a:lstStyle/>
          <a:p>
            <a:pPr algn="ctr">
              <a:lnSpc>
                <a:spcPct val="110000"/>
              </a:lnSpc>
              <a:spcBef>
                <a:spcPct val="0"/>
              </a:spcBef>
              <a:buFont typeface="Wingdings" charset="0"/>
              <a:buNone/>
            </a:pPr>
            <a:r>
              <a:rPr lang="en-US" b="1" dirty="0">
                <a:solidFill>
                  <a:schemeClr val="tx1"/>
                </a:solidFill>
                <a:latin typeface="+mn-lt"/>
                <a:ea typeface="Arial Unicode MS" panose="020B0604020202020204" pitchFamily="34" charset="-128"/>
                <a:cs typeface="Arial Unicode MS" panose="020B0604020202020204" pitchFamily="34" charset="-128"/>
              </a:rPr>
              <a:t>Operation Optimization</a:t>
            </a:r>
          </a:p>
        </p:txBody>
      </p:sp>
      <p:sp>
        <p:nvSpPr>
          <p:cNvPr id="52" name="cdtTextBox 11 Id18">
            <a:extLst>
              <a:ext uri="{FF2B5EF4-FFF2-40B4-BE49-F238E27FC236}">
                <a16:creationId xmlns:a16="http://schemas.microsoft.com/office/drawing/2014/main" id="{69CB8731-C648-4CB4-89BD-413C18EA85C5}"/>
              </a:ext>
            </a:extLst>
          </p:cNvPr>
          <p:cNvSpPr txBox="1"/>
          <p:nvPr>
            <p:custDataLst>
              <p:tags r:id="rId3"/>
            </p:custDataLst>
          </p:nvPr>
        </p:nvSpPr>
        <p:spPr>
          <a:xfrm>
            <a:off x="0" y="6597650"/>
            <a:ext cx="1765285" cy="260350"/>
          </a:xfrm>
          <a:prstGeom prst="rect">
            <a:avLst/>
          </a:prstGeom>
          <a:noFill/>
        </p:spPr>
        <p:txBody>
          <a:bodyPr wrap="square" lIns="626400" tIns="0" rIns="0" bIns="115200" rtlCol="0" anchor="t" anchorCtr="0">
            <a:noAutofit/>
          </a:bodyPr>
          <a:lstStyle/>
          <a:p>
            <a:pPr>
              <a:lnSpc>
                <a:spcPct val="110000"/>
              </a:lnSpc>
              <a:spcBef>
                <a:spcPts val="0"/>
              </a:spcBef>
            </a:pPr>
            <a:r>
              <a:rPr lang="en-US" sz="1000" noProof="0" dirty="0">
                <a:solidFill>
                  <a:schemeClr val="tx1"/>
                </a:solidFill>
              </a:rPr>
              <a:t>Page </a:t>
            </a:r>
            <a:fld id="{91E7552C-A157-4A4F-8E99-698C0325FC94}" type="slidenum">
              <a:rPr lang="en-US" sz="1000" noProof="0" smtClean="0">
                <a:solidFill>
                  <a:schemeClr val="tx1"/>
                </a:solidFill>
              </a:rPr>
              <a:pPr>
                <a:lnSpc>
                  <a:spcPct val="110000"/>
                </a:lnSpc>
                <a:spcBef>
                  <a:spcPts val="0"/>
                </a:spcBef>
              </a:pPr>
              <a:t>12</a:t>
            </a:fld>
            <a:endParaRPr lang="en-US" sz="1000" noProof="0" dirty="0">
              <a:solidFill>
                <a:schemeClr val="tx1"/>
              </a:solidFill>
            </a:endParaRPr>
          </a:p>
        </p:txBody>
      </p:sp>
      <p:sp>
        <p:nvSpPr>
          <p:cNvPr id="54" name="Freeform 6">
            <a:extLst>
              <a:ext uri="{FF2B5EF4-FFF2-40B4-BE49-F238E27FC236}">
                <a16:creationId xmlns:a16="http://schemas.microsoft.com/office/drawing/2014/main" id="{60BCC9EF-6F0E-4B73-B0FF-BDC19D1D77B7}"/>
              </a:ext>
            </a:extLst>
          </p:cNvPr>
          <p:cNvSpPr>
            <a:spLocks/>
          </p:cNvSpPr>
          <p:nvPr/>
        </p:nvSpPr>
        <p:spPr bwMode="auto">
          <a:xfrm flipH="1">
            <a:off x="11627989" y="5758801"/>
            <a:ext cx="65558" cy="113684"/>
          </a:xfrm>
          <a:custGeom>
            <a:avLst/>
            <a:gdLst>
              <a:gd name="T0" fmla="*/ 151 w 173"/>
              <a:gd name="T1" fmla="*/ 300 h 300"/>
              <a:gd name="T2" fmla="*/ 173 w 173"/>
              <a:gd name="T3" fmla="*/ 271 h 300"/>
              <a:gd name="T4" fmla="*/ 65 w 173"/>
              <a:gd name="T5" fmla="*/ 150 h 300"/>
              <a:gd name="T6" fmla="*/ 173 w 173"/>
              <a:gd name="T7" fmla="*/ 21 h 300"/>
              <a:gd name="T8" fmla="*/ 151 w 173"/>
              <a:gd name="T9" fmla="*/ 0 h 300"/>
              <a:gd name="T10" fmla="*/ 0 w 173"/>
              <a:gd name="T11" fmla="*/ 150 h 300"/>
              <a:gd name="T12" fmla="*/ 151 w 173"/>
              <a:gd name="T13" fmla="*/ 300 h 300"/>
              <a:gd name="T14" fmla="*/ 151 w 173"/>
              <a:gd name="T15" fmla="*/ 30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00">
                <a:moveTo>
                  <a:pt x="151" y="300"/>
                </a:moveTo>
                <a:lnTo>
                  <a:pt x="173" y="271"/>
                </a:lnTo>
                <a:lnTo>
                  <a:pt x="65" y="150"/>
                </a:lnTo>
                <a:lnTo>
                  <a:pt x="173" y="21"/>
                </a:lnTo>
                <a:lnTo>
                  <a:pt x="151" y="0"/>
                </a:lnTo>
                <a:lnTo>
                  <a:pt x="0" y="150"/>
                </a:lnTo>
                <a:lnTo>
                  <a:pt x="151" y="300"/>
                </a:lnTo>
                <a:lnTo>
                  <a:pt x="151" y="300"/>
                </a:lnTo>
                <a:close/>
              </a:path>
            </a:pathLst>
          </a:custGeom>
          <a:solidFill>
            <a:srgbClr val="41AAA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dirty="0">
              <a:ln>
                <a:noFill/>
              </a:ln>
              <a:solidFill>
                <a:srgbClr val="ADBECB"/>
              </a:solidFill>
              <a:effectLst/>
              <a:uLnTx/>
              <a:uFillTx/>
              <a:latin typeface="Arial" pitchFamily="34" charset="0"/>
              <a:cs typeface="+mn-cs"/>
            </a:endParaRPr>
          </a:p>
        </p:txBody>
      </p:sp>
      <p:sp>
        <p:nvSpPr>
          <p:cNvPr id="55" name="cdtText Box 133 Id16">
            <a:extLst>
              <a:ext uri="{FF2B5EF4-FFF2-40B4-BE49-F238E27FC236}">
                <a16:creationId xmlns:a16="http://schemas.microsoft.com/office/drawing/2014/main" id="{FAFF6AF3-9EA9-4ACB-AD94-92DF8A6AA5C3}"/>
              </a:ext>
            </a:extLst>
          </p:cNvPr>
          <p:cNvSpPr txBox="1">
            <a:spLocks noChangeArrowheads="1"/>
          </p:cNvSpPr>
          <p:nvPr>
            <p:custDataLst>
              <p:tags r:id="rId4"/>
            </p:custDataLst>
          </p:nvPr>
        </p:nvSpPr>
        <p:spPr bwMode="auto">
          <a:xfrm>
            <a:off x="0" y="6200774"/>
            <a:ext cx="12198350" cy="396875"/>
          </a:xfrm>
          <a:prstGeom prst="rect">
            <a:avLst/>
          </a:prstGeom>
          <a:noFill/>
          <a:ln w="9525">
            <a:noFill/>
            <a:miter lim="800000"/>
            <a:headEnd/>
            <a:tailEnd/>
          </a:ln>
          <a:effectLst/>
        </p:spPr>
        <p:txBody>
          <a:bodyPr lIns="626400" tIns="144000" rIns="3211200" bIns="0" anchor="ctr"/>
          <a:lstStyle/>
          <a:p>
            <a:r>
              <a:rPr lang="en-US" sz="1000" b="1" noProof="0" dirty="0">
                <a:solidFill>
                  <a:schemeClr val="tx1"/>
                </a:solidFill>
              </a:rPr>
              <a:t>Unrestricted © Siemens AG 2021</a:t>
            </a:r>
          </a:p>
        </p:txBody>
      </p:sp>
      <p:sp>
        <p:nvSpPr>
          <p:cNvPr id="56" name="Titel 5">
            <a:extLst>
              <a:ext uri="{FF2B5EF4-FFF2-40B4-BE49-F238E27FC236}">
                <a16:creationId xmlns:a16="http://schemas.microsoft.com/office/drawing/2014/main" id="{FD61548B-90F9-4C1C-A24C-DD6E5C46D38F}"/>
              </a:ext>
            </a:extLst>
          </p:cNvPr>
          <p:cNvSpPr txBox="1">
            <a:spLocks/>
          </p:cNvSpPr>
          <p:nvPr/>
        </p:nvSpPr>
        <p:spPr bwMode="gray">
          <a:xfrm>
            <a:off x="8585159" y="5003152"/>
            <a:ext cx="3510370" cy="1028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b="1">
                <a:solidFill>
                  <a:srgbClr val="00646E"/>
                </a:solidFill>
                <a:latin typeface="+mn-lt"/>
                <a:ea typeface="ＭＳ Ｐゴシック" charset="0"/>
                <a:cs typeface="Arial" pitchFamily="34" charset="0"/>
              </a:defRPr>
            </a:lvl1pPr>
            <a:lvl2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2pPr>
            <a:lvl3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3pPr>
            <a:lvl4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4pPr>
            <a:lvl5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5pPr>
            <a:lvl6pPr marL="457177" algn="l" rtl="0" eaLnBrk="1" fontAlgn="base" hangingPunct="1">
              <a:spcBef>
                <a:spcPct val="0"/>
              </a:spcBef>
              <a:spcAft>
                <a:spcPct val="0"/>
              </a:spcAft>
              <a:defRPr sz="2000" b="1">
                <a:solidFill>
                  <a:schemeClr val="tx1"/>
                </a:solidFill>
                <a:latin typeface="Arial" charset="0"/>
                <a:ea typeface="ヒラギノ角ゴ Pro W3" charset="0"/>
              </a:defRPr>
            </a:lvl6pPr>
            <a:lvl7pPr marL="914354" algn="l" rtl="0" eaLnBrk="1" fontAlgn="base" hangingPunct="1">
              <a:spcBef>
                <a:spcPct val="0"/>
              </a:spcBef>
              <a:spcAft>
                <a:spcPct val="0"/>
              </a:spcAft>
              <a:defRPr sz="2000" b="1">
                <a:solidFill>
                  <a:schemeClr val="tx1"/>
                </a:solidFill>
                <a:latin typeface="Arial" charset="0"/>
                <a:ea typeface="ヒラギノ角ゴ Pro W3" charset="0"/>
              </a:defRPr>
            </a:lvl7pPr>
            <a:lvl8pPr marL="1371531" algn="l" rtl="0" eaLnBrk="1" fontAlgn="base" hangingPunct="1">
              <a:spcBef>
                <a:spcPct val="0"/>
              </a:spcBef>
              <a:spcAft>
                <a:spcPct val="0"/>
              </a:spcAft>
              <a:defRPr sz="2000" b="1">
                <a:solidFill>
                  <a:schemeClr val="tx1"/>
                </a:solidFill>
                <a:latin typeface="Arial" charset="0"/>
                <a:ea typeface="ヒラギノ角ゴ Pro W3" charset="0"/>
              </a:defRPr>
            </a:lvl8pPr>
            <a:lvl9pPr marL="1828709" algn="l" rtl="0" eaLnBrk="1" fontAlgn="base" hangingPunct="1">
              <a:spcBef>
                <a:spcPct val="0"/>
              </a:spcBef>
              <a:spcAft>
                <a:spcPct val="0"/>
              </a:spcAft>
              <a:defRPr sz="2000" b="1">
                <a:solidFill>
                  <a:schemeClr val="tx1"/>
                </a:solidFill>
                <a:latin typeface="Arial" charset="0"/>
                <a:ea typeface="ヒラギノ角ゴ Pro W3"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dirty="0">
                <a:ln>
                  <a:noFill/>
                </a:ln>
                <a:solidFill>
                  <a:srgbClr val="FFFFFF"/>
                </a:solidFill>
                <a:effectLst/>
                <a:uLnTx/>
                <a:uFillTx/>
                <a:latin typeface="Arial"/>
              </a:rPr>
              <a:t>Standardization</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kern="0" dirty="0">
                <a:solidFill>
                  <a:srgbClr val="FFFFFF"/>
                </a:solidFill>
                <a:latin typeface="Arial"/>
              </a:rPr>
              <a:t>Plant Management System</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a:rPr>
              <a:t>Operator </a:t>
            </a:r>
            <a:r>
              <a:rPr kumimoji="0" lang="en-US" sz="2000" b="1" i="0" u="none" strike="noStrike" kern="0" cap="none" spc="0" normalizeH="0" baseline="0" dirty="0">
                <a:ln>
                  <a:noFill/>
                </a:ln>
                <a:solidFill>
                  <a:srgbClr val="FFFFFF"/>
                </a:solidFill>
                <a:effectLst/>
                <a:uLnTx/>
                <a:uFillTx/>
                <a:latin typeface="Arial"/>
              </a:rPr>
              <a:t>Assistant</a:t>
            </a:r>
            <a:r>
              <a:rPr kumimoji="0" lang="en-US" sz="2000" b="1" i="0" u="none" strike="noStrike" kern="0" cap="none" spc="0" normalizeH="0" baseline="0" noProof="0" dirty="0">
                <a:ln>
                  <a:noFill/>
                </a:ln>
                <a:solidFill>
                  <a:srgbClr val="FFFFFF"/>
                </a:solidFill>
                <a:effectLst/>
                <a:uLnTx/>
                <a:uFillTx/>
                <a:latin typeface="Arial"/>
              </a:rPr>
              <a:t> System</a:t>
            </a:r>
          </a:p>
        </p:txBody>
      </p:sp>
      <p:sp>
        <p:nvSpPr>
          <p:cNvPr id="57" name="Titel 5">
            <a:extLst>
              <a:ext uri="{FF2B5EF4-FFF2-40B4-BE49-F238E27FC236}">
                <a16:creationId xmlns:a16="http://schemas.microsoft.com/office/drawing/2014/main" id="{2F94C1DE-9A46-4581-B8B4-CB42E9818E07}"/>
              </a:ext>
            </a:extLst>
          </p:cNvPr>
          <p:cNvSpPr txBox="1">
            <a:spLocks/>
          </p:cNvSpPr>
          <p:nvPr/>
        </p:nvSpPr>
        <p:spPr bwMode="gray">
          <a:xfrm>
            <a:off x="497547" y="2439678"/>
            <a:ext cx="2808000" cy="6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b="1">
                <a:solidFill>
                  <a:srgbClr val="00646E"/>
                </a:solidFill>
                <a:latin typeface="+mn-lt"/>
                <a:ea typeface="ＭＳ Ｐゴシック" charset="0"/>
                <a:cs typeface="Arial" pitchFamily="34" charset="0"/>
              </a:defRPr>
            </a:lvl1pPr>
            <a:lvl2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2pPr>
            <a:lvl3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3pPr>
            <a:lvl4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4pPr>
            <a:lvl5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5pPr>
            <a:lvl6pPr marL="457177" algn="l" rtl="0" eaLnBrk="1" fontAlgn="base" hangingPunct="1">
              <a:spcBef>
                <a:spcPct val="0"/>
              </a:spcBef>
              <a:spcAft>
                <a:spcPct val="0"/>
              </a:spcAft>
              <a:defRPr sz="2000" b="1">
                <a:solidFill>
                  <a:schemeClr val="tx1"/>
                </a:solidFill>
                <a:latin typeface="Arial" charset="0"/>
                <a:ea typeface="ヒラギノ角ゴ Pro W3" charset="0"/>
              </a:defRPr>
            </a:lvl6pPr>
            <a:lvl7pPr marL="914354" algn="l" rtl="0" eaLnBrk="1" fontAlgn="base" hangingPunct="1">
              <a:spcBef>
                <a:spcPct val="0"/>
              </a:spcBef>
              <a:spcAft>
                <a:spcPct val="0"/>
              </a:spcAft>
              <a:defRPr sz="2000" b="1">
                <a:solidFill>
                  <a:schemeClr val="tx1"/>
                </a:solidFill>
                <a:latin typeface="Arial" charset="0"/>
                <a:ea typeface="ヒラギノ角ゴ Pro W3" charset="0"/>
              </a:defRPr>
            </a:lvl7pPr>
            <a:lvl8pPr marL="1371531" algn="l" rtl="0" eaLnBrk="1" fontAlgn="base" hangingPunct="1">
              <a:spcBef>
                <a:spcPct val="0"/>
              </a:spcBef>
              <a:spcAft>
                <a:spcPct val="0"/>
              </a:spcAft>
              <a:defRPr sz="2000" b="1">
                <a:solidFill>
                  <a:schemeClr val="tx1"/>
                </a:solidFill>
                <a:latin typeface="Arial" charset="0"/>
                <a:ea typeface="ヒラギノ角ゴ Pro W3" charset="0"/>
              </a:defRPr>
            </a:lvl8pPr>
            <a:lvl9pPr marL="1828709" algn="l" rtl="0" eaLnBrk="1" fontAlgn="base" hangingPunct="1">
              <a:spcBef>
                <a:spcPct val="0"/>
              </a:spcBef>
              <a:spcAft>
                <a:spcPct val="0"/>
              </a:spcAft>
              <a:defRPr sz="2000" b="1">
                <a:solidFill>
                  <a:schemeClr val="tx1"/>
                </a:solidFill>
                <a:latin typeface="Arial" charset="0"/>
                <a:ea typeface="ヒラギノ角ゴ Pro W3"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a:ea typeface="ＭＳ Ｐゴシック" charset="0"/>
                <a:cs typeface="Arial" pitchFamily="34" charset="0"/>
              </a:rPr>
              <a:t>COMOS / PAA /</a:t>
            </a:r>
            <a:br>
              <a:rPr kumimoji="0" lang="en-US" sz="2000" b="1" i="0" u="none" strike="noStrike" kern="0" cap="none" spc="0" normalizeH="0" baseline="0" noProof="0" dirty="0">
                <a:ln>
                  <a:noFill/>
                </a:ln>
                <a:solidFill>
                  <a:srgbClr val="FFFFFF"/>
                </a:solidFill>
                <a:effectLst/>
                <a:uLnTx/>
                <a:uFillTx/>
                <a:latin typeface="Arial"/>
                <a:ea typeface="ＭＳ Ｐゴシック" charset="0"/>
                <a:cs typeface="Arial" pitchFamily="34" charset="0"/>
              </a:rPr>
            </a:br>
            <a:r>
              <a:rPr kumimoji="0" lang="en-US" sz="2000" b="1" i="0" u="none" strike="noStrike" kern="0" cap="none" spc="0" normalizeH="0" baseline="0" noProof="0" dirty="0">
                <a:ln>
                  <a:noFill/>
                </a:ln>
                <a:solidFill>
                  <a:srgbClr val="FFFFFF"/>
                </a:solidFill>
                <a:effectLst/>
                <a:uLnTx/>
                <a:uFillTx/>
                <a:latin typeface="Arial"/>
                <a:ea typeface="ＭＳ Ｐゴシック" charset="0"/>
                <a:cs typeface="Arial" pitchFamily="34" charset="0"/>
              </a:rPr>
              <a:t>PCS 7 / SIMIT</a:t>
            </a:r>
          </a:p>
        </p:txBody>
      </p:sp>
      <p:sp>
        <p:nvSpPr>
          <p:cNvPr id="58" name="Titel 5">
            <a:extLst>
              <a:ext uri="{FF2B5EF4-FFF2-40B4-BE49-F238E27FC236}">
                <a16:creationId xmlns:a16="http://schemas.microsoft.com/office/drawing/2014/main" id="{3BFFCC67-2968-4EA0-9EBE-FB784EF6FBB6}"/>
              </a:ext>
            </a:extLst>
          </p:cNvPr>
          <p:cNvSpPr txBox="1">
            <a:spLocks/>
          </p:cNvSpPr>
          <p:nvPr/>
        </p:nvSpPr>
        <p:spPr bwMode="gray">
          <a:xfrm>
            <a:off x="581674" y="4493646"/>
            <a:ext cx="2808000" cy="6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b="1">
                <a:solidFill>
                  <a:srgbClr val="00646E"/>
                </a:solidFill>
                <a:latin typeface="+mn-lt"/>
                <a:ea typeface="ＭＳ Ｐゴシック" charset="0"/>
                <a:cs typeface="Arial" pitchFamily="34" charset="0"/>
              </a:defRPr>
            </a:lvl1pPr>
            <a:lvl2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2pPr>
            <a:lvl3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3pPr>
            <a:lvl4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4pPr>
            <a:lvl5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5pPr>
            <a:lvl6pPr marL="457177" algn="l" rtl="0" eaLnBrk="1" fontAlgn="base" hangingPunct="1">
              <a:spcBef>
                <a:spcPct val="0"/>
              </a:spcBef>
              <a:spcAft>
                <a:spcPct val="0"/>
              </a:spcAft>
              <a:defRPr sz="2000" b="1">
                <a:solidFill>
                  <a:schemeClr val="tx1"/>
                </a:solidFill>
                <a:latin typeface="Arial" charset="0"/>
                <a:ea typeface="ヒラギノ角ゴ Pro W3" charset="0"/>
              </a:defRPr>
            </a:lvl6pPr>
            <a:lvl7pPr marL="914354" algn="l" rtl="0" eaLnBrk="1" fontAlgn="base" hangingPunct="1">
              <a:spcBef>
                <a:spcPct val="0"/>
              </a:spcBef>
              <a:spcAft>
                <a:spcPct val="0"/>
              </a:spcAft>
              <a:defRPr sz="2000" b="1">
                <a:solidFill>
                  <a:schemeClr val="tx1"/>
                </a:solidFill>
                <a:latin typeface="Arial" charset="0"/>
                <a:ea typeface="ヒラギノ角ゴ Pro W3" charset="0"/>
              </a:defRPr>
            </a:lvl7pPr>
            <a:lvl8pPr marL="1371531" algn="l" rtl="0" eaLnBrk="1" fontAlgn="base" hangingPunct="1">
              <a:spcBef>
                <a:spcPct val="0"/>
              </a:spcBef>
              <a:spcAft>
                <a:spcPct val="0"/>
              </a:spcAft>
              <a:defRPr sz="2000" b="1">
                <a:solidFill>
                  <a:schemeClr val="tx1"/>
                </a:solidFill>
                <a:latin typeface="Arial" charset="0"/>
                <a:ea typeface="ヒラギノ角ゴ Pro W3" charset="0"/>
              </a:defRPr>
            </a:lvl8pPr>
            <a:lvl9pPr marL="1828709" algn="l" rtl="0" eaLnBrk="1" fontAlgn="base" hangingPunct="1">
              <a:spcBef>
                <a:spcPct val="0"/>
              </a:spcBef>
              <a:spcAft>
                <a:spcPct val="0"/>
              </a:spcAft>
              <a:defRPr sz="2000" b="1">
                <a:solidFill>
                  <a:schemeClr val="tx1"/>
                </a:solidFill>
                <a:latin typeface="Arial" charset="0"/>
                <a:ea typeface="ヒラギノ角ゴ Pro W3" charset="0"/>
              </a:defRPr>
            </a:lvl9pPr>
          </a:lstStyle>
          <a:p>
            <a:pPr lvl="0" algn="ctr">
              <a:defRPr/>
            </a:pPr>
            <a:r>
              <a:rPr kumimoji="0" lang="en-US" sz="2000" i="0" u="none" strike="noStrike" kern="0" cap="none" spc="0" normalizeH="0" baseline="0" noProof="0" dirty="0">
                <a:ln>
                  <a:noFill/>
                </a:ln>
                <a:solidFill>
                  <a:srgbClr val="FFFFFF"/>
                </a:solidFill>
                <a:effectLst/>
                <a:uLnTx/>
                <a:uFillTx/>
                <a:latin typeface="Arial"/>
              </a:rPr>
              <a:t>PSE</a:t>
            </a:r>
            <a:r>
              <a:rPr kumimoji="0" lang="en-US" sz="2000" i="0" u="none" strike="noStrike" kern="0" cap="none" spc="0" normalizeH="0" baseline="30000" noProof="0" dirty="0">
                <a:ln>
                  <a:noFill/>
                </a:ln>
                <a:solidFill>
                  <a:srgbClr val="FFFFFF"/>
                </a:solidFill>
                <a:effectLst/>
                <a:uLnTx/>
                <a:uFillTx/>
                <a:latin typeface="Arial"/>
              </a:rPr>
              <a:t>1 </a:t>
            </a:r>
          </a:p>
          <a:p>
            <a:pPr lvl="0" algn="ctr">
              <a:defRPr/>
            </a:pPr>
            <a:r>
              <a:rPr lang="en-US" sz="2000" kern="0" dirty="0" err="1">
                <a:solidFill>
                  <a:srgbClr val="FFFFFF"/>
                </a:solidFill>
              </a:rPr>
              <a:t>gPROMS</a:t>
            </a:r>
            <a:endParaRPr kumimoji="0" lang="en-US" sz="2000" i="0" u="none" strike="noStrike" kern="0" cap="none" spc="0" normalizeH="0" baseline="0" dirty="0">
              <a:ln>
                <a:noFill/>
              </a:ln>
              <a:solidFill>
                <a:srgbClr val="FFFFFF"/>
              </a:solidFill>
              <a:effectLst/>
              <a:uLnTx/>
              <a:uFillTx/>
              <a:latin typeface="Arial"/>
            </a:endParaRPr>
          </a:p>
        </p:txBody>
      </p:sp>
      <p:sp>
        <p:nvSpPr>
          <p:cNvPr id="59" name="Titel 5">
            <a:extLst>
              <a:ext uri="{FF2B5EF4-FFF2-40B4-BE49-F238E27FC236}">
                <a16:creationId xmlns:a16="http://schemas.microsoft.com/office/drawing/2014/main" id="{975F0A6F-91A3-460B-AE64-0D9A1DB901EB}"/>
              </a:ext>
            </a:extLst>
          </p:cNvPr>
          <p:cNvSpPr txBox="1">
            <a:spLocks/>
          </p:cNvSpPr>
          <p:nvPr/>
        </p:nvSpPr>
        <p:spPr bwMode="gray">
          <a:xfrm>
            <a:off x="9071505" y="3151451"/>
            <a:ext cx="2808000" cy="6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b="1">
                <a:solidFill>
                  <a:srgbClr val="00646E"/>
                </a:solidFill>
                <a:latin typeface="+mn-lt"/>
                <a:ea typeface="ＭＳ Ｐゴシック" charset="0"/>
                <a:cs typeface="Arial" pitchFamily="34" charset="0"/>
              </a:defRPr>
            </a:lvl1pPr>
            <a:lvl2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2pPr>
            <a:lvl3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3pPr>
            <a:lvl4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4pPr>
            <a:lvl5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5pPr>
            <a:lvl6pPr marL="457177" algn="l" rtl="0" eaLnBrk="1" fontAlgn="base" hangingPunct="1">
              <a:spcBef>
                <a:spcPct val="0"/>
              </a:spcBef>
              <a:spcAft>
                <a:spcPct val="0"/>
              </a:spcAft>
              <a:defRPr sz="2000" b="1">
                <a:solidFill>
                  <a:schemeClr val="tx1"/>
                </a:solidFill>
                <a:latin typeface="Arial" charset="0"/>
                <a:ea typeface="ヒラギノ角ゴ Pro W3" charset="0"/>
              </a:defRPr>
            </a:lvl6pPr>
            <a:lvl7pPr marL="914354" algn="l" rtl="0" eaLnBrk="1" fontAlgn="base" hangingPunct="1">
              <a:spcBef>
                <a:spcPct val="0"/>
              </a:spcBef>
              <a:spcAft>
                <a:spcPct val="0"/>
              </a:spcAft>
              <a:defRPr sz="2000" b="1">
                <a:solidFill>
                  <a:schemeClr val="tx1"/>
                </a:solidFill>
                <a:latin typeface="Arial" charset="0"/>
                <a:ea typeface="ヒラギノ角ゴ Pro W3" charset="0"/>
              </a:defRPr>
            </a:lvl7pPr>
            <a:lvl8pPr marL="1371531" algn="l" rtl="0" eaLnBrk="1" fontAlgn="base" hangingPunct="1">
              <a:spcBef>
                <a:spcPct val="0"/>
              </a:spcBef>
              <a:spcAft>
                <a:spcPct val="0"/>
              </a:spcAft>
              <a:defRPr sz="2000" b="1">
                <a:solidFill>
                  <a:schemeClr val="tx1"/>
                </a:solidFill>
                <a:latin typeface="Arial" charset="0"/>
                <a:ea typeface="ヒラギノ角ゴ Pro W3" charset="0"/>
              </a:defRPr>
            </a:lvl8pPr>
            <a:lvl9pPr marL="1828709" algn="l" rtl="0" eaLnBrk="1" fontAlgn="base" hangingPunct="1">
              <a:spcBef>
                <a:spcPct val="0"/>
              </a:spcBef>
              <a:spcAft>
                <a:spcPct val="0"/>
              </a:spcAft>
              <a:defRPr sz="2000" b="1">
                <a:solidFill>
                  <a:schemeClr val="tx1"/>
                </a:solidFill>
                <a:latin typeface="Arial" charset="0"/>
                <a:ea typeface="ヒラギノ角ゴ Pro W3"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FFFFFF"/>
                </a:solidFill>
                <a:effectLst/>
                <a:uLnTx/>
                <a:uFillTx/>
                <a:latin typeface="Arial"/>
                <a:ea typeface="ＭＳ Ｐゴシック" charset="0"/>
                <a:cs typeface="Arial" pitchFamily="34" charset="0"/>
              </a:rPr>
              <a:t>Industrial Network </a:t>
            </a:r>
            <a:r>
              <a:rPr kumimoji="0" lang="en-US" sz="2000" b="1" i="0" u="none" strike="noStrike" kern="0" cap="none" spc="0" normalizeH="0" baseline="0" dirty="0">
                <a:ln>
                  <a:noFill/>
                </a:ln>
                <a:solidFill>
                  <a:srgbClr val="FFFFFF"/>
                </a:solidFill>
                <a:effectLst/>
                <a:uLnTx/>
                <a:uFillTx/>
                <a:latin typeface="Arial"/>
                <a:ea typeface="ＭＳ Ｐゴシック" charset="0"/>
                <a:cs typeface="Arial" pitchFamily="34" charset="0"/>
              </a:rPr>
              <a:t>Management</a:t>
            </a:r>
            <a:r>
              <a:rPr kumimoji="0" lang="en-US" sz="2000" b="1" i="0" u="none" strike="noStrike" kern="0" cap="none" spc="0" normalizeH="0" baseline="0" noProof="0" dirty="0">
                <a:ln>
                  <a:noFill/>
                </a:ln>
                <a:solidFill>
                  <a:srgbClr val="FFFFFF"/>
                </a:solidFill>
                <a:effectLst/>
                <a:uLnTx/>
                <a:uFillTx/>
                <a:latin typeface="Arial"/>
                <a:ea typeface="ＭＳ Ｐゴシック" charset="0"/>
                <a:cs typeface="Arial" pitchFamily="34" charset="0"/>
              </a:rPr>
              <a:t> and Cyber Security</a:t>
            </a:r>
          </a:p>
        </p:txBody>
      </p:sp>
      <p:sp>
        <p:nvSpPr>
          <p:cNvPr id="60" name="Titel 5">
            <a:extLst>
              <a:ext uri="{FF2B5EF4-FFF2-40B4-BE49-F238E27FC236}">
                <a16:creationId xmlns:a16="http://schemas.microsoft.com/office/drawing/2014/main" id="{6F01C2FE-F5F7-45AB-A849-1B3F10B3920D}"/>
              </a:ext>
            </a:extLst>
          </p:cNvPr>
          <p:cNvSpPr txBox="1">
            <a:spLocks/>
          </p:cNvSpPr>
          <p:nvPr/>
        </p:nvSpPr>
        <p:spPr bwMode="gray">
          <a:xfrm>
            <a:off x="3643807" y="6020458"/>
            <a:ext cx="2808000" cy="695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rtl="0" eaLnBrk="0" fontAlgn="base" hangingPunct="0">
              <a:spcBef>
                <a:spcPct val="0"/>
              </a:spcBef>
              <a:spcAft>
                <a:spcPct val="0"/>
              </a:spcAft>
              <a:defRPr sz="2200" b="1">
                <a:solidFill>
                  <a:srgbClr val="00646E"/>
                </a:solidFill>
                <a:latin typeface="+mn-lt"/>
                <a:ea typeface="ＭＳ Ｐゴシック" charset="0"/>
                <a:cs typeface="Arial" pitchFamily="34" charset="0"/>
              </a:defRPr>
            </a:lvl1pPr>
            <a:lvl2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2pPr>
            <a:lvl3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3pPr>
            <a:lvl4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4pPr>
            <a:lvl5pPr algn="l" rtl="0" eaLnBrk="0" fontAlgn="base" hangingPunct="0">
              <a:spcBef>
                <a:spcPct val="0"/>
              </a:spcBef>
              <a:spcAft>
                <a:spcPct val="0"/>
              </a:spcAft>
              <a:defRPr sz="2200" b="1">
                <a:solidFill>
                  <a:srgbClr val="00646E"/>
                </a:solidFill>
                <a:latin typeface="Arial" charset="0"/>
                <a:ea typeface="ＭＳ Ｐゴシック" charset="-128"/>
                <a:cs typeface="Arial" charset="0"/>
              </a:defRPr>
            </a:lvl5pPr>
            <a:lvl6pPr marL="457177" algn="l" rtl="0" eaLnBrk="1" fontAlgn="base" hangingPunct="1">
              <a:spcBef>
                <a:spcPct val="0"/>
              </a:spcBef>
              <a:spcAft>
                <a:spcPct val="0"/>
              </a:spcAft>
              <a:defRPr sz="2000" b="1">
                <a:solidFill>
                  <a:schemeClr val="tx1"/>
                </a:solidFill>
                <a:latin typeface="Arial" charset="0"/>
                <a:ea typeface="ヒラギノ角ゴ Pro W3" charset="0"/>
              </a:defRPr>
            </a:lvl6pPr>
            <a:lvl7pPr marL="914354" algn="l" rtl="0" eaLnBrk="1" fontAlgn="base" hangingPunct="1">
              <a:spcBef>
                <a:spcPct val="0"/>
              </a:spcBef>
              <a:spcAft>
                <a:spcPct val="0"/>
              </a:spcAft>
              <a:defRPr sz="2000" b="1">
                <a:solidFill>
                  <a:schemeClr val="tx1"/>
                </a:solidFill>
                <a:latin typeface="Arial" charset="0"/>
                <a:ea typeface="ヒラギノ角ゴ Pro W3" charset="0"/>
              </a:defRPr>
            </a:lvl7pPr>
            <a:lvl8pPr marL="1371531" algn="l" rtl="0" eaLnBrk="1" fontAlgn="base" hangingPunct="1">
              <a:spcBef>
                <a:spcPct val="0"/>
              </a:spcBef>
              <a:spcAft>
                <a:spcPct val="0"/>
              </a:spcAft>
              <a:defRPr sz="2000" b="1">
                <a:solidFill>
                  <a:schemeClr val="tx1"/>
                </a:solidFill>
                <a:latin typeface="Arial" charset="0"/>
                <a:ea typeface="ヒラギノ角ゴ Pro W3" charset="0"/>
              </a:defRPr>
            </a:lvl8pPr>
            <a:lvl9pPr marL="1828709" algn="l" rtl="0" eaLnBrk="1" fontAlgn="base" hangingPunct="1">
              <a:spcBef>
                <a:spcPct val="0"/>
              </a:spcBef>
              <a:spcAft>
                <a:spcPct val="0"/>
              </a:spcAft>
              <a:defRPr sz="2000" b="1">
                <a:solidFill>
                  <a:schemeClr val="tx1"/>
                </a:solidFill>
                <a:latin typeface="Arial" charset="0"/>
                <a:ea typeface="ヒラギノ角ゴ Pro W3"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kern="0" dirty="0">
                <a:solidFill>
                  <a:srgbClr val="FFFFFF"/>
                </a:solidFill>
                <a:latin typeface="Arial"/>
              </a:rPr>
              <a:t>Application Suites</a:t>
            </a:r>
            <a:endParaRPr kumimoji="0" lang="en-US" sz="2000" i="0" u="none" strike="noStrike" kern="0" cap="none" spc="0" normalizeH="0" baseline="0" noProof="0" dirty="0">
              <a:ln>
                <a:noFill/>
              </a:ln>
              <a:solidFill>
                <a:srgbClr val="FFFFFF"/>
              </a:solidFill>
              <a:effectLst/>
              <a:uLnTx/>
              <a:uFillTx/>
              <a:latin typeface="Arial"/>
            </a:endParaRPr>
          </a:p>
        </p:txBody>
      </p:sp>
      <p:sp>
        <p:nvSpPr>
          <p:cNvPr id="61" name="Textfeld 94">
            <a:extLst>
              <a:ext uri="{FF2B5EF4-FFF2-40B4-BE49-F238E27FC236}">
                <a16:creationId xmlns:a16="http://schemas.microsoft.com/office/drawing/2014/main" id="{0C85D3F5-B193-49CE-A004-6233A9DE988B}"/>
              </a:ext>
            </a:extLst>
          </p:cNvPr>
          <p:cNvSpPr txBox="1"/>
          <p:nvPr/>
        </p:nvSpPr>
        <p:spPr>
          <a:xfrm>
            <a:off x="497547" y="6031470"/>
            <a:ext cx="1912383" cy="171778"/>
          </a:xfrm>
          <a:prstGeom prst="rect">
            <a:avLst/>
          </a:prstGeom>
          <a:noFill/>
        </p:spPr>
        <p:txBody>
          <a:bodyPr wrap="none" lIns="0" tIns="0" rIns="0" bIns="0" rtlCol="0">
            <a:spAutoFit/>
          </a:bodyPr>
          <a:lstStyle/>
          <a:p>
            <a:pPr>
              <a:lnSpc>
                <a:spcPct val="110000"/>
              </a:lnSpc>
              <a:spcBef>
                <a:spcPts val="0"/>
              </a:spcBef>
            </a:pPr>
            <a:r>
              <a:rPr lang="en-US" sz="1100" b="1" dirty="0">
                <a:solidFill>
                  <a:schemeClr val="tx1"/>
                </a:solidFill>
                <a:latin typeface="+mn-lt"/>
                <a:ea typeface="Arial Unicode MS" panose="020B0604020202020204" pitchFamily="34" charset="-128"/>
                <a:cs typeface="Arial Unicode MS" panose="020B0604020202020204" pitchFamily="34" charset="-128"/>
              </a:rPr>
              <a:t>1 |</a:t>
            </a:r>
            <a:r>
              <a:rPr lang="en-US" sz="1100" dirty="0">
                <a:solidFill>
                  <a:schemeClr val="tx1"/>
                </a:solidFill>
                <a:latin typeface="+mn-lt"/>
                <a:ea typeface="Arial Unicode MS" panose="020B0604020202020204" pitchFamily="34" charset="-128"/>
                <a:cs typeface="Arial Unicode MS" panose="020B0604020202020204" pitchFamily="34" charset="-128"/>
              </a:rPr>
              <a:t> PSE – a Siemens company</a:t>
            </a:r>
          </a:p>
        </p:txBody>
      </p:sp>
    </p:spTree>
    <p:extLst>
      <p:ext uri="{BB962C8B-B14F-4D97-AF65-F5344CB8AC3E}">
        <p14:creationId xmlns:p14="http://schemas.microsoft.com/office/powerpoint/2010/main" val="5402416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5CD750A-6A65-4B0B-9C4B-B7B9D025E9C3}"/>
              </a:ext>
            </a:extLst>
          </p:cNvPr>
          <p:cNvGraphicFramePr>
            <a:graphicFrameLocks noChangeAspect="1"/>
          </p:cNvGraphicFramePr>
          <p:nvPr>
            <p:custDataLst>
              <p:tags r:id="rId2"/>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486410" name="think-cell Folie" r:id="rId5" imgW="270" imgH="270" progId="TCLayout.ActiveDocument.1">
                  <p:embed/>
                </p:oleObj>
              </mc:Choice>
              <mc:Fallback>
                <p:oleObj name="think-cell Folie" r:id="rId5" imgW="270" imgH="270" progId="TCLayout.ActiveDocument.1">
                  <p:embed/>
                  <p:pic>
                    <p:nvPicPr>
                      <p:cNvPr id="4" name="Objekt 3" hidden="1">
                        <a:extLst>
                          <a:ext uri="{FF2B5EF4-FFF2-40B4-BE49-F238E27FC236}">
                            <a16:creationId xmlns:a16="http://schemas.microsoft.com/office/drawing/2014/main" id="{A5CD750A-6A65-4B0B-9C4B-B7B9D025E9C3}"/>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98" name="Freihandform: Form 97">
            <a:extLst>
              <a:ext uri="{FF2B5EF4-FFF2-40B4-BE49-F238E27FC236}">
                <a16:creationId xmlns:a16="http://schemas.microsoft.com/office/drawing/2014/main" id="{1980E1BC-9F30-47F8-8F6F-92A538F712FF}"/>
              </a:ext>
            </a:extLst>
          </p:cNvPr>
          <p:cNvSpPr/>
          <p:nvPr/>
        </p:nvSpPr>
        <p:spPr>
          <a:xfrm>
            <a:off x="-22593" y="2183719"/>
            <a:ext cx="12217768" cy="3622472"/>
          </a:xfrm>
          <a:custGeom>
            <a:avLst/>
            <a:gdLst>
              <a:gd name="connsiteX0" fmla="*/ 12217768 w 12217768"/>
              <a:gd name="connsiteY0" fmla="*/ 0 h 3622472"/>
              <a:gd name="connsiteX1" fmla="*/ 12217768 w 12217768"/>
              <a:gd name="connsiteY1" fmla="*/ 3622472 h 3622472"/>
              <a:gd name="connsiteX2" fmla="*/ 0 w 12217768"/>
              <a:gd name="connsiteY2" fmla="*/ 3622472 h 3622472"/>
              <a:gd name="connsiteX3" fmla="*/ 0 w 12217768"/>
              <a:gd name="connsiteY3" fmla="*/ 2805392 h 3622472"/>
              <a:gd name="connsiteX4" fmla="*/ 11254 w 12217768"/>
              <a:gd name="connsiteY4" fmla="*/ 2794681 h 3622472"/>
              <a:gd name="connsiteX5" fmla="*/ 0 w 12217768"/>
              <a:gd name="connsiteY5" fmla="*/ 2794681 h 3622472"/>
              <a:gd name="connsiteX6" fmla="*/ 0 w 12217768"/>
              <a:gd name="connsiteY6" fmla="*/ 2788899 h 3622472"/>
              <a:gd name="connsiteX7" fmla="*/ 152372 w 12217768"/>
              <a:gd name="connsiteY7" fmla="*/ 2770075 h 3622472"/>
              <a:gd name="connsiteX8" fmla="*/ 780511 w 12217768"/>
              <a:gd name="connsiteY8" fmla="*/ 2635024 h 3622472"/>
              <a:gd name="connsiteX9" fmla="*/ 1738454 w 12217768"/>
              <a:gd name="connsiteY9" fmla="*/ 2214110 h 3622472"/>
              <a:gd name="connsiteX10" fmla="*/ 2899597 w 12217768"/>
              <a:gd name="connsiteY10" fmla="*/ 2170567 h 3622472"/>
              <a:gd name="connsiteX11" fmla="*/ 4176854 w 12217768"/>
              <a:gd name="connsiteY11" fmla="*/ 1662567 h 3622472"/>
              <a:gd name="connsiteX12" fmla="*/ 5381539 w 12217768"/>
              <a:gd name="connsiteY12" fmla="*/ 1589995 h 3622472"/>
              <a:gd name="connsiteX13" fmla="*/ 6760397 w 12217768"/>
              <a:gd name="connsiteY13" fmla="*/ 1154567 h 3622472"/>
              <a:gd name="connsiteX14" fmla="*/ 7544168 w 12217768"/>
              <a:gd name="connsiteY14" fmla="*/ 1096510 h 3622472"/>
              <a:gd name="connsiteX15" fmla="*/ 8705311 w 12217768"/>
              <a:gd name="connsiteY15" fmla="*/ 704624 h 3622472"/>
              <a:gd name="connsiteX16" fmla="*/ 9590682 w 12217768"/>
              <a:gd name="connsiteY16" fmla="*/ 704624 h 3622472"/>
              <a:gd name="connsiteX17" fmla="*/ 11346911 w 12217768"/>
              <a:gd name="connsiteY17" fmla="*/ 124052 h 3622472"/>
              <a:gd name="connsiteX18" fmla="*/ 12111292 w 12217768"/>
              <a:gd name="connsiteY18" fmla="*/ 11156 h 362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17768" h="3622472">
                <a:moveTo>
                  <a:pt x="12217768" y="0"/>
                </a:moveTo>
                <a:lnTo>
                  <a:pt x="12217768" y="3622472"/>
                </a:lnTo>
                <a:lnTo>
                  <a:pt x="0" y="3622472"/>
                </a:lnTo>
                <a:lnTo>
                  <a:pt x="0" y="2805392"/>
                </a:lnTo>
                <a:lnTo>
                  <a:pt x="11254" y="2794681"/>
                </a:lnTo>
                <a:lnTo>
                  <a:pt x="0" y="2794681"/>
                </a:lnTo>
                <a:lnTo>
                  <a:pt x="0" y="2788899"/>
                </a:lnTo>
                <a:lnTo>
                  <a:pt x="152372" y="2770075"/>
                </a:lnTo>
                <a:cubicBezTo>
                  <a:pt x="352566" y="2743428"/>
                  <a:pt x="557354" y="2707596"/>
                  <a:pt x="780511" y="2635024"/>
                </a:cubicBezTo>
                <a:cubicBezTo>
                  <a:pt x="1078054" y="2538262"/>
                  <a:pt x="1385273" y="2291519"/>
                  <a:pt x="1738454" y="2214110"/>
                </a:cubicBezTo>
                <a:cubicBezTo>
                  <a:pt x="2091635" y="2136701"/>
                  <a:pt x="2493197" y="2262491"/>
                  <a:pt x="2899597" y="2170567"/>
                </a:cubicBezTo>
                <a:cubicBezTo>
                  <a:pt x="3305997" y="2078643"/>
                  <a:pt x="3763197" y="1759329"/>
                  <a:pt x="4176854" y="1662567"/>
                </a:cubicBezTo>
                <a:cubicBezTo>
                  <a:pt x="4590511" y="1565805"/>
                  <a:pt x="4950949" y="1674662"/>
                  <a:pt x="5381539" y="1589995"/>
                </a:cubicBezTo>
                <a:cubicBezTo>
                  <a:pt x="5812129" y="1505328"/>
                  <a:pt x="6399959" y="1236814"/>
                  <a:pt x="6760397" y="1154567"/>
                </a:cubicBezTo>
                <a:cubicBezTo>
                  <a:pt x="7120835" y="1072319"/>
                  <a:pt x="7220016" y="1171500"/>
                  <a:pt x="7544168" y="1096510"/>
                </a:cubicBezTo>
                <a:cubicBezTo>
                  <a:pt x="7868320" y="1021520"/>
                  <a:pt x="8364225" y="769938"/>
                  <a:pt x="8705311" y="704624"/>
                </a:cubicBezTo>
                <a:cubicBezTo>
                  <a:pt x="9046397" y="639310"/>
                  <a:pt x="9150415" y="801386"/>
                  <a:pt x="9590682" y="704624"/>
                </a:cubicBezTo>
                <a:cubicBezTo>
                  <a:pt x="10030949" y="607862"/>
                  <a:pt x="10759082" y="160338"/>
                  <a:pt x="11346911" y="124052"/>
                </a:cubicBezTo>
                <a:cubicBezTo>
                  <a:pt x="11567347" y="110445"/>
                  <a:pt x="11842551" y="45131"/>
                  <a:pt x="12111292" y="11156"/>
                </a:cubicBezTo>
                <a:close/>
              </a:path>
            </a:pathLst>
          </a:cu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73" name="Gerade Verbindung mit Pfeil 72">
            <a:extLst>
              <a:ext uri="{FF2B5EF4-FFF2-40B4-BE49-F238E27FC236}">
                <a16:creationId xmlns:a16="http://schemas.microsoft.com/office/drawing/2014/main" id="{EB3A7CD9-F456-49DB-81F0-11B5C0E7ADC6}"/>
              </a:ext>
            </a:extLst>
          </p:cNvPr>
          <p:cNvCxnSpPr>
            <a:cxnSpLocks/>
          </p:cNvCxnSpPr>
          <p:nvPr/>
        </p:nvCxnSpPr>
        <p:spPr>
          <a:xfrm>
            <a:off x="7992410" y="3334476"/>
            <a:ext cx="0" cy="1327922"/>
          </a:xfrm>
          <a:prstGeom prst="straightConnector1">
            <a:avLst/>
          </a:prstGeom>
          <a:ln w="9525">
            <a:solidFill>
              <a:schemeClr val="accent2"/>
            </a:solidFill>
            <a:headEnd w="lg" len="lg"/>
            <a:tailEnd type="oval"/>
          </a:ln>
        </p:spPr>
        <p:style>
          <a:lnRef idx="1">
            <a:schemeClr val="accent1"/>
          </a:lnRef>
          <a:fillRef idx="0">
            <a:schemeClr val="accent1"/>
          </a:fillRef>
          <a:effectRef idx="0">
            <a:schemeClr val="accent1"/>
          </a:effectRef>
          <a:fontRef idx="minor">
            <a:schemeClr val="tx1"/>
          </a:fontRef>
        </p:style>
      </p:cxnSp>
      <p:cxnSp>
        <p:nvCxnSpPr>
          <p:cNvPr id="70" name="Gerade Verbindung mit Pfeil 69">
            <a:extLst>
              <a:ext uri="{FF2B5EF4-FFF2-40B4-BE49-F238E27FC236}">
                <a16:creationId xmlns:a16="http://schemas.microsoft.com/office/drawing/2014/main" id="{BA30286B-A2D2-451B-AC5E-66679CECCADA}"/>
              </a:ext>
            </a:extLst>
          </p:cNvPr>
          <p:cNvCxnSpPr>
            <a:cxnSpLocks/>
          </p:cNvCxnSpPr>
          <p:nvPr/>
        </p:nvCxnSpPr>
        <p:spPr>
          <a:xfrm>
            <a:off x="3537596" y="4067164"/>
            <a:ext cx="0" cy="595235"/>
          </a:xfrm>
          <a:prstGeom prst="straightConnector1">
            <a:avLst/>
          </a:prstGeom>
          <a:ln w="9525">
            <a:solidFill>
              <a:schemeClr val="accent2"/>
            </a:solidFill>
            <a:headEnd w="lg" len="lg"/>
            <a:tailEnd type="oval"/>
          </a:ln>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311B05C9-BBD8-4733-B861-574113B8B9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67523" y="4206692"/>
            <a:ext cx="509122" cy="509122"/>
          </a:xfrm>
          <a:prstGeom prst="rect">
            <a:avLst/>
          </a:prstGeom>
        </p:spPr>
      </p:pic>
      <p:sp>
        <p:nvSpPr>
          <p:cNvPr id="8" name="Rectangle 7">
            <a:extLst>
              <a:ext uri="{FF2B5EF4-FFF2-40B4-BE49-F238E27FC236}">
                <a16:creationId xmlns:a16="http://schemas.microsoft.com/office/drawing/2014/main" id="{61A9D28B-FA9E-45E3-9834-C69E3038040C}"/>
              </a:ext>
            </a:extLst>
          </p:cNvPr>
          <p:cNvSpPr>
            <a:spLocks/>
          </p:cNvSpPr>
          <p:nvPr/>
        </p:nvSpPr>
        <p:spPr bwMode="auto">
          <a:xfrm>
            <a:off x="518739" y="4809551"/>
            <a:ext cx="2206691" cy="827230"/>
          </a:xfrm>
          <a:prstGeom prst="rect">
            <a:avLst/>
          </a:prstGeom>
          <a:noFill/>
          <a:ln>
            <a:noFill/>
          </a:ln>
          <a:effectLst/>
        </p:spPr>
        <p:txBody>
          <a:bodyPr rot="0" spcFirstLastPara="0" vertOverflow="overflow" horzOverflow="overflow" vert="horz" wrap="square" lIns="0" tIns="0" rIns="0" bIns="0" numCol="1" spcCol="72000" rtlCol="0" fromWordArt="0" anchor="t"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Start to investigate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opportunities of </a:t>
            </a:r>
            <a:r>
              <a:rPr kumimoji="0" lang="en-US" sz="1049" b="0" i="0" u="none" strike="noStrike" kern="1200" cap="none" spc="0" normalizeH="0" baseline="0" noProof="0" dirty="0" err="1">
                <a:ln>
                  <a:noFill/>
                </a:ln>
                <a:solidFill>
                  <a:prstClr val="white"/>
                </a:solidFill>
                <a:effectLst/>
                <a:uLnTx/>
                <a:uFillTx/>
                <a:latin typeface="Arial" pitchFamily="34" charset="0"/>
                <a:ea typeface="Arial Unicode MS" panose="020B0604020202020204" pitchFamily="34" charset="-128"/>
                <a:cs typeface="+mn-cs"/>
              </a:rPr>
              <a:t>IIoT</a:t>
            </a: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for your business </a:t>
            </a:r>
          </a:p>
        </p:txBody>
      </p:sp>
      <p:sp>
        <p:nvSpPr>
          <p:cNvPr id="9" name="Rectangle 8">
            <a:extLst>
              <a:ext uri="{FF2B5EF4-FFF2-40B4-BE49-F238E27FC236}">
                <a16:creationId xmlns:a16="http://schemas.microsoft.com/office/drawing/2014/main" id="{0503A4B3-532C-41FC-91B5-2CD657651AF3}"/>
              </a:ext>
            </a:extLst>
          </p:cNvPr>
          <p:cNvSpPr>
            <a:spLocks/>
          </p:cNvSpPr>
          <p:nvPr/>
        </p:nvSpPr>
        <p:spPr bwMode="auto">
          <a:xfrm>
            <a:off x="2434252" y="4809551"/>
            <a:ext cx="2206691" cy="827230"/>
          </a:xfrm>
          <a:prstGeom prst="rect">
            <a:avLst/>
          </a:prstGeom>
          <a:noFill/>
          <a:ln>
            <a:noFill/>
          </a:ln>
          <a:effectLst/>
        </p:spPr>
        <p:txBody>
          <a:bodyPr rot="0" spcFirstLastPara="0" vertOverflow="overflow" horzOverflow="overflow" vert="horz" wrap="square" lIns="0" tIns="0" rIns="0" bIns="0" numCol="1" spcCol="72000" rtlCol="0" fromWordArt="0" anchor="t"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Implement a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first </a:t>
            </a:r>
            <a:r>
              <a:rPr kumimoji="0" lang="en-US" sz="1049" b="0" i="0" u="none" strike="noStrike" kern="1200" cap="none" spc="0" normalizeH="0" baseline="0" noProof="0" dirty="0" err="1">
                <a:ln>
                  <a:noFill/>
                </a:ln>
                <a:solidFill>
                  <a:prstClr val="white"/>
                </a:solidFill>
                <a:effectLst/>
                <a:uLnTx/>
                <a:uFillTx/>
                <a:latin typeface="Arial" pitchFamily="34" charset="0"/>
                <a:ea typeface="Arial Unicode MS" panose="020B0604020202020204" pitchFamily="34" charset="-128"/>
                <a:cs typeface="+mn-cs"/>
              </a:rPr>
              <a:t>IIoT</a:t>
            </a: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 Proof of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Value project</a:t>
            </a:r>
          </a:p>
        </p:txBody>
      </p:sp>
      <p:sp>
        <p:nvSpPr>
          <p:cNvPr id="10" name="Rectangle 9">
            <a:extLst>
              <a:ext uri="{FF2B5EF4-FFF2-40B4-BE49-F238E27FC236}">
                <a16:creationId xmlns:a16="http://schemas.microsoft.com/office/drawing/2014/main" id="{7DB3C82D-349C-42F7-8A7F-A7F5EB7F1147}"/>
              </a:ext>
            </a:extLst>
          </p:cNvPr>
          <p:cNvSpPr>
            <a:spLocks/>
          </p:cNvSpPr>
          <p:nvPr/>
        </p:nvSpPr>
        <p:spPr bwMode="auto">
          <a:xfrm>
            <a:off x="4497666" y="4809551"/>
            <a:ext cx="2206691" cy="827230"/>
          </a:xfrm>
          <a:prstGeom prst="rect">
            <a:avLst/>
          </a:prstGeom>
          <a:noFill/>
          <a:ln>
            <a:noFill/>
          </a:ln>
          <a:effectLst/>
        </p:spPr>
        <p:txBody>
          <a:bodyPr rot="0" spcFirstLastPara="0" vertOverflow="overflow" horzOverflow="overflow" vert="horz" wrap="square" lIns="0" tIns="0" rIns="0" bIns="0" numCol="1" spcCol="72000" rtlCol="0" fromWordArt="0" anchor="t"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Scale a first IIoT Solution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to additional Assets and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start to generate value </a:t>
            </a:r>
          </a:p>
        </p:txBody>
      </p:sp>
      <p:sp>
        <p:nvSpPr>
          <p:cNvPr id="11" name="Rectangle 10">
            <a:extLst>
              <a:ext uri="{FF2B5EF4-FFF2-40B4-BE49-F238E27FC236}">
                <a16:creationId xmlns:a16="http://schemas.microsoft.com/office/drawing/2014/main" id="{A4F2B67F-099A-43A7-A5B3-5D54DF1CFA10}"/>
              </a:ext>
            </a:extLst>
          </p:cNvPr>
          <p:cNvSpPr>
            <a:spLocks/>
          </p:cNvSpPr>
          <p:nvPr/>
        </p:nvSpPr>
        <p:spPr bwMode="auto">
          <a:xfrm>
            <a:off x="6889065" y="4809551"/>
            <a:ext cx="2206691" cy="827230"/>
          </a:xfrm>
          <a:prstGeom prst="rect">
            <a:avLst/>
          </a:prstGeom>
          <a:noFill/>
          <a:ln>
            <a:noFill/>
          </a:ln>
          <a:effectLst/>
        </p:spPr>
        <p:txBody>
          <a:bodyPr rot="0" spcFirstLastPara="0" vertOverflow="overflow" horzOverflow="overflow" vert="horz" wrap="square" lIns="0" tIns="0" rIns="0" bIns="0" numCol="1" spcCol="72000" rtlCol="0" fromWordArt="0" anchor="t"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Implement a tailored </a:t>
            </a:r>
            <a:r>
              <a:rPr kumimoji="0" lang="en-US" sz="1049" b="0" i="0" u="none" strike="noStrike" kern="1200" cap="none" spc="0" normalizeH="0" baseline="0" noProof="0" dirty="0" err="1">
                <a:ln>
                  <a:noFill/>
                </a:ln>
                <a:solidFill>
                  <a:prstClr val="white"/>
                </a:solidFill>
                <a:effectLst/>
                <a:uLnTx/>
                <a:uFillTx/>
                <a:latin typeface="Arial" pitchFamily="34" charset="0"/>
                <a:ea typeface="Arial Unicode MS" panose="020B0604020202020204" pitchFamily="34" charset="-128"/>
                <a:cs typeface="+mn-cs"/>
              </a:rPr>
              <a:t>IIoT</a:t>
            </a: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solution for your specific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mn-cs"/>
              </a:rPr>
              <a:t>use case and scale</a:t>
            </a:r>
          </a:p>
        </p:txBody>
      </p:sp>
      <p:sp>
        <p:nvSpPr>
          <p:cNvPr id="12" name="Rectangle 11">
            <a:extLst>
              <a:ext uri="{FF2B5EF4-FFF2-40B4-BE49-F238E27FC236}">
                <a16:creationId xmlns:a16="http://schemas.microsoft.com/office/drawing/2014/main" id="{16F5B88A-305C-46AF-8A4F-CB1ABC3D386F}"/>
              </a:ext>
            </a:extLst>
          </p:cNvPr>
          <p:cNvSpPr>
            <a:spLocks/>
          </p:cNvSpPr>
          <p:nvPr/>
        </p:nvSpPr>
        <p:spPr bwMode="auto">
          <a:xfrm>
            <a:off x="9565645" y="4809551"/>
            <a:ext cx="2206691" cy="827230"/>
          </a:xfrm>
          <a:prstGeom prst="rect">
            <a:avLst/>
          </a:prstGeom>
          <a:noFill/>
          <a:ln>
            <a:noFill/>
          </a:ln>
          <a:effectLst/>
        </p:spPr>
        <p:txBody>
          <a:bodyPr rot="0" spcFirstLastPara="0" vertOverflow="overflow" horzOverflow="overflow" vert="horz" wrap="square" lIns="0" tIns="0" rIns="0" bIns="0" numCol="1" spcCol="72000" rtlCol="0" fromWordArt="0" anchor="t"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Arial Unicode MS" panose="020B0604020202020204" pitchFamily="34" charset="-128"/>
              </a:rPr>
              <a:t>Maximize your value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Arial Unicode MS" panose="020B0604020202020204" pitchFamily="34" charset="-128"/>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Arial Unicode MS" panose="020B0604020202020204" pitchFamily="34" charset="-128"/>
              </a:rPr>
              <a:t>add by digitally transforming </a:t>
            </a:r>
            <a:b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Arial Unicode MS" panose="020B0604020202020204" pitchFamily="34" charset="-128"/>
              </a:rPr>
            </a:br>
            <a:r>
              <a:rPr kumimoji="0" lang="en-US" sz="1049" b="0" i="0" u="none" strike="noStrike" kern="1200" cap="none" spc="0" normalizeH="0" baseline="0" noProof="0" dirty="0">
                <a:ln>
                  <a:noFill/>
                </a:ln>
                <a:solidFill>
                  <a:prstClr val="white"/>
                </a:solidFill>
                <a:effectLst/>
                <a:uLnTx/>
                <a:uFillTx/>
                <a:latin typeface="Arial" pitchFamily="34" charset="0"/>
                <a:ea typeface="Arial Unicode MS" panose="020B0604020202020204" pitchFamily="34" charset="-128"/>
                <a:cs typeface="Arial Unicode MS" panose="020B0604020202020204" pitchFamily="34" charset="-128"/>
              </a:rPr>
              <a:t>your industrial set-up</a:t>
            </a:r>
          </a:p>
        </p:txBody>
      </p:sp>
      <p:sp>
        <p:nvSpPr>
          <p:cNvPr id="17" name="Rectangle 16">
            <a:extLst>
              <a:ext uri="{FF2B5EF4-FFF2-40B4-BE49-F238E27FC236}">
                <a16:creationId xmlns:a16="http://schemas.microsoft.com/office/drawing/2014/main" id="{23DC5DC6-5E1A-4EBD-B509-0971F57CD9CE}"/>
              </a:ext>
            </a:extLst>
          </p:cNvPr>
          <p:cNvSpPr>
            <a:spLocks/>
          </p:cNvSpPr>
          <p:nvPr/>
        </p:nvSpPr>
        <p:spPr bwMode="auto">
          <a:xfrm>
            <a:off x="1005562" y="3869134"/>
            <a:ext cx="1233044" cy="284303"/>
          </a:xfrm>
          <a:prstGeom prst="rect">
            <a:avLst/>
          </a:prstGeom>
          <a:no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IIoT</a:t>
            </a:r>
            <a:r>
              <a:rPr kumimoji="0" lang="en-US" sz="1400"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 Ideation</a:t>
            </a:r>
          </a:p>
        </p:txBody>
      </p:sp>
      <p:sp>
        <p:nvSpPr>
          <p:cNvPr id="20" name="Freeform: Shape 19">
            <a:extLst>
              <a:ext uri="{FF2B5EF4-FFF2-40B4-BE49-F238E27FC236}">
                <a16:creationId xmlns:a16="http://schemas.microsoft.com/office/drawing/2014/main" id="{CD63134F-C045-4C9F-956F-936D5767C5E5}"/>
              </a:ext>
            </a:extLst>
          </p:cNvPr>
          <p:cNvSpPr/>
          <p:nvPr/>
        </p:nvSpPr>
        <p:spPr bwMode="auto">
          <a:xfrm>
            <a:off x="9479515" y="3960438"/>
            <a:ext cx="2872332" cy="1027076"/>
          </a:xfrm>
          <a:custGeom>
            <a:avLst/>
            <a:gdLst>
              <a:gd name="connsiteX0" fmla="*/ 801188 w 2873828"/>
              <a:gd name="connsiteY0" fmla="*/ 0 h 1027611"/>
              <a:gd name="connsiteX1" fmla="*/ 0 w 2873828"/>
              <a:gd name="connsiteY1" fmla="*/ 8708 h 1027611"/>
              <a:gd name="connsiteX2" fmla="*/ 0 w 2873828"/>
              <a:gd name="connsiteY2" fmla="*/ 1027611 h 1027611"/>
              <a:gd name="connsiteX3" fmla="*/ 1863634 w 2873828"/>
              <a:gd name="connsiteY3" fmla="*/ 1027611 h 1027611"/>
              <a:gd name="connsiteX4" fmla="*/ 1863634 w 2873828"/>
              <a:gd name="connsiteY4" fmla="*/ 34834 h 1027611"/>
              <a:gd name="connsiteX5" fmla="*/ 1097280 w 2873828"/>
              <a:gd name="connsiteY5" fmla="*/ 8708 h 1027611"/>
              <a:gd name="connsiteX6" fmla="*/ 1097280 w 2873828"/>
              <a:gd name="connsiteY6" fmla="*/ 17417 h 1027611"/>
              <a:gd name="connsiteX7" fmla="*/ 2873828 w 2873828"/>
              <a:gd name="connsiteY7" fmla="*/ 409303 h 1027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3828" h="1027611">
                <a:moveTo>
                  <a:pt x="801188" y="0"/>
                </a:moveTo>
                <a:lnTo>
                  <a:pt x="0" y="8708"/>
                </a:lnTo>
                <a:lnTo>
                  <a:pt x="0" y="1027611"/>
                </a:lnTo>
                <a:lnTo>
                  <a:pt x="1863634" y="1027611"/>
                </a:lnTo>
                <a:lnTo>
                  <a:pt x="1863634" y="34834"/>
                </a:lnTo>
                <a:lnTo>
                  <a:pt x="1097280" y="8708"/>
                </a:lnTo>
                <a:lnTo>
                  <a:pt x="1097280" y="17417"/>
                </a:lnTo>
                <a:lnTo>
                  <a:pt x="2873828" y="409303"/>
                </a:lnTo>
              </a:path>
            </a:pathLst>
          </a:custGeom>
          <a:noFill/>
          <a:ln>
            <a:noFill/>
          </a:ln>
          <a:effectLst/>
        </p:spPr>
        <p:txBody>
          <a:bodyPr rtlCol="0" anchor="ctr"/>
          <a:lstStyle/>
          <a:p>
            <a:pPr marL="0" marR="0" lvl="0" indent="0" algn="ctr" defTabSz="913943" rtl="0" eaLnBrk="1" fontAlgn="base" latinLnBrk="0" hangingPunct="1">
              <a:lnSpc>
                <a:spcPct val="100000"/>
              </a:lnSpc>
              <a:spcBef>
                <a:spcPct val="50000"/>
              </a:spcBef>
              <a:spcAft>
                <a:spcPct val="0"/>
              </a:spcAft>
              <a:buClrTx/>
              <a:buSzTx/>
              <a:buFontTx/>
              <a:buNone/>
              <a:tabLst/>
              <a:defRPr/>
            </a:pPr>
            <a:endParaRPr kumimoji="0" lang="en-US" sz="1799" b="0" i="0" u="none" strike="noStrike" kern="1200" cap="none" spc="0" normalizeH="0" baseline="0" noProof="0">
              <a:ln>
                <a:noFill/>
              </a:ln>
              <a:solidFill>
                <a:srgbClr val="ADBECB"/>
              </a:solidFill>
              <a:effectLst/>
              <a:uLnTx/>
              <a:uFillTx/>
              <a:latin typeface="Arial" pitchFamily="34" charset="0"/>
              <a:ea typeface="ＭＳ Ｐゴシック" charset="-128"/>
              <a:cs typeface="+mn-cs"/>
            </a:endParaRPr>
          </a:p>
        </p:txBody>
      </p:sp>
      <p:sp>
        <p:nvSpPr>
          <p:cNvPr id="18" name="Freihandform: Form 17">
            <a:extLst>
              <a:ext uri="{FF2B5EF4-FFF2-40B4-BE49-F238E27FC236}">
                <a16:creationId xmlns:a16="http://schemas.microsoft.com/office/drawing/2014/main" id="{FCA35241-17DA-427C-AF20-05DD47AADCAD}"/>
              </a:ext>
            </a:extLst>
          </p:cNvPr>
          <p:cNvSpPr/>
          <p:nvPr/>
        </p:nvSpPr>
        <p:spPr>
          <a:xfrm>
            <a:off x="9914458" y="1818037"/>
            <a:ext cx="1516044" cy="757977"/>
          </a:xfrm>
          <a:custGeom>
            <a:avLst/>
            <a:gdLst>
              <a:gd name="connsiteX0" fmla="*/ 1516045 w 1516044"/>
              <a:gd name="connsiteY0" fmla="*/ 757977 h 757977"/>
              <a:gd name="connsiteX1" fmla="*/ 757978 w 1516044"/>
              <a:gd name="connsiteY1" fmla="*/ 0 h 757977"/>
              <a:gd name="connsiteX2" fmla="*/ 0 w 1516044"/>
              <a:gd name="connsiteY2" fmla="*/ 757977 h 757977"/>
              <a:gd name="connsiteX3" fmla="*/ 1516045 w 1516044"/>
              <a:gd name="connsiteY3" fmla="*/ 757977 h 757977"/>
            </a:gdLst>
            <a:ahLst/>
            <a:cxnLst>
              <a:cxn ang="0">
                <a:pos x="connsiteX0" y="connsiteY0"/>
              </a:cxn>
              <a:cxn ang="0">
                <a:pos x="connsiteX1" y="connsiteY1"/>
              </a:cxn>
              <a:cxn ang="0">
                <a:pos x="connsiteX2" y="connsiteY2"/>
              </a:cxn>
              <a:cxn ang="0">
                <a:pos x="connsiteX3" y="connsiteY3"/>
              </a:cxn>
            </a:cxnLst>
            <a:rect l="l" t="t" r="r" b="b"/>
            <a:pathLst>
              <a:path w="1516044" h="757977">
                <a:moveTo>
                  <a:pt x="1516045" y="757977"/>
                </a:moveTo>
                <a:cubicBezTo>
                  <a:pt x="1516045" y="339356"/>
                  <a:pt x="1176600" y="0"/>
                  <a:pt x="757978" y="0"/>
                </a:cubicBezTo>
                <a:cubicBezTo>
                  <a:pt x="339357" y="0"/>
                  <a:pt x="0" y="339356"/>
                  <a:pt x="0" y="757977"/>
                </a:cubicBezTo>
                <a:lnTo>
                  <a:pt x="1516045" y="757977"/>
                </a:lnTo>
                <a:close/>
              </a:path>
            </a:pathLst>
          </a:custGeom>
          <a:solidFill>
            <a:srgbClr val="00646E"/>
          </a:solidFill>
          <a:ln w="8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19" name="Freihandform: Form 18">
            <a:extLst>
              <a:ext uri="{FF2B5EF4-FFF2-40B4-BE49-F238E27FC236}">
                <a16:creationId xmlns:a16="http://schemas.microsoft.com/office/drawing/2014/main" id="{B8856243-1570-4AD1-B859-6D82214431A0}"/>
              </a:ext>
            </a:extLst>
          </p:cNvPr>
          <p:cNvSpPr/>
          <p:nvPr/>
        </p:nvSpPr>
        <p:spPr>
          <a:xfrm>
            <a:off x="9914458" y="2576014"/>
            <a:ext cx="1515956" cy="757977"/>
          </a:xfrm>
          <a:custGeom>
            <a:avLst/>
            <a:gdLst>
              <a:gd name="connsiteX0" fmla="*/ 0 w 1515956"/>
              <a:gd name="connsiteY0" fmla="*/ 0 h 757977"/>
              <a:gd name="connsiteX1" fmla="*/ 757978 w 1515956"/>
              <a:gd name="connsiteY1" fmla="*/ 757977 h 757977"/>
              <a:gd name="connsiteX2" fmla="*/ 1515957 w 1515956"/>
              <a:gd name="connsiteY2" fmla="*/ 0 h 757977"/>
              <a:gd name="connsiteX3" fmla="*/ 0 w 1515956"/>
              <a:gd name="connsiteY3" fmla="*/ 0 h 757977"/>
            </a:gdLst>
            <a:ahLst/>
            <a:cxnLst>
              <a:cxn ang="0">
                <a:pos x="connsiteX0" y="connsiteY0"/>
              </a:cxn>
              <a:cxn ang="0">
                <a:pos x="connsiteX1" y="connsiteY1"/>
              </a:cxn>
              <a:cxn ang="0">
                <a:pos x="connsiteX2" y="connsiteY2"/>
              </a:cxn>
              <a:cxn ang="0">
                <a:pos x="connsiteX3" y="connsiteY3"/>
              </a:cxn>
            </a:cxnLst>
            <a:rect l="l" t="t" r="r" b="b"/>
            <a:pathLst>
              <a:path w="1515956" h="757977">
                <a:moveTo>
                  <a:pt x="0" y="0"/>
                </a:moveTo>
                <a:cubicBezTo>
                  <a:pt x="0" y="418621"/>
                  <a:pt x="339357" y="757977"/>
                  <a:pt x="757978" y="757977"/>
                </a:cubicBezTo>
                <a:cubicBezTo>
                  <a:pt x="1176600" y="757977"/>
                  <a:pt x="1515957" y="418621"/>
                  <a:pt x="1515957" y="0"/>
                </a:cubicBezTo>
                <a:lnTo>
                  <a:pt x="0" y="0"/>
                </a:lnTo>
                <a:close/>
              </a:path>
            </a:pathLst>
          </a:custGeom>
          <a:solidFill>
            <a:srgbClr val="00646E"/>
          </a:solidFill>
          <a:ln w="8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21" name="Freihandform: Form 20">
            <a:extLst>
              <a:ext uri="{FF2B5EF4-FFF2-40B4-BE49-F238E27FC236}">
                <a16:creationId xmlns:a16="http://schemas.microsoft.com/office/drawing/2014/main" id="{F75C7A55-C7D5-42C4-88C0-53FE0DACE604}"/>
              </a:ext>
            </a:extLst>
          </p:cNvPr>
          <p:cNvSpPr/>
          <p:nvPr/>
        </p:nvSpPr>
        <p:spPr>
          <a:xfrm>
            <a:off x="10038929" y="1942508"/>
            <a:ext cx="633506" cy="1267011"/>
          </a:xfrm>
          <a:custGeom>
            <a:avLst/>
            <a:gdLst>
              <a:gd name="connsiteX0" fmla="*/ 633507 w 633506"/>
              <a:gd name="connsiteY0" fmla="*/ 0 h 1267011"/>
              <a:gd name="connsiteX1" fmla="*/ 0 w 633506"/>
              <a:gd name="connsiteY1" fmla="*/ 633506 h 1267011"/>
              <a:gd name="connsiteX2" fmla="*/ 633507 w 633506"/>
              <a:gd name="connsiteY2" fmla="*/ 1267012 h 1267011"/>
            </a:gdLst>
            <a:ahLst/>
            <a:cxnLst>
              <a:cxn ang="0">
                <a:pos x="connsiteX0" y="connsiteY0"/>
              </a:cxn>
              <a:cxn ang="0">
                <a:pos x="connsiteX1" y="connsiteY1"/>
              </a:cxn>
              <a:cxn ang="0">
                <a:pos x="connsiteX2" y="connsiteY2"/>
              </a:cxn>
            </a:cxnLst>
            <a:rect l="l" t="t" r="r" b="b"/>
            <a:pathLst>
              <a:path w="633506" h="1267011">
                <a:moveTo>
                  <a:pt x="633507" y="0"/>
                </a:moveTo>
                <a:cubicBezTo>
                  <a:pt x="283616" y="0"/>
                  <a:pt x="0" y="283616"/>
                  <a:pt x="0" y="633506"/>
                </a:cubicBezTo>
                <a:cubicBezTo>
                  <a:pt x="0" y="983395"/>
                  <a:pt x="283616" y="1267012"/>
                  <a:pt x="633507" y="1267012"/>
                </a:cubicBezTo>
              </a:path>
            </a:pathLst>
          </a:custGeom>
          <a:solidFill>
            <a:schemeClr val="accent2"/>
          </a:solidFill>
          <a:ln w="8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24" name="Freihandform: Form 23">
            <a:extLst>
              <a:ext uri="{FF2B5EF4-FFF2-40B4-BE49-F238E27FC236}">
                <a16:creationId xmlns:a16="http://schemas.microsoft.com/office/drawing/2014/main" id="{A0CA08C7-C1A8-4887-8AAB-6E6D8D39D09B}"/>
              </a:ext>
            </a:extLst>
          </p:cNvPr>
          <p:cNvSpPr/>
          <p:nvPr/>
        </p:nvSpPr>
        <p:spPr>
          <a:xfrm>
            <a:off x="10672436" y="1942508"/>
            <a:ext cx="633506" cy="1267011"/>
          </a:xfrm>
          <a:custGeom>
            <a:avLst/>
            <a:gdLst>
              <a:gd name="connsiteX0" fmla="*/ 0 w 633506"/>
              <a:gd name="connsiteY0" fmla="*/ 1267012 h 1267011"/>
              <a:gd name="connsiteX1" fmla="*/ 633507 w 633506"/>
              <a:gd name="connsiteY1" fmla="*/ 633506 h 1267011"/>
              <a:gd name="connsiteX2" fmla="*/ 0 w 633506"/>
              <a:gd name="connsiteY2" fmla="*/ 0 h 1267011"/>
            </a:gdLst>
            <a:ahLst/>
            <a:cxnLst>
              <a:cxn ang="0">
                <a:pos x="connsiteX0" y="connsiteY0"/>
              </a:cxn>
              <a:cxn ang="0">
                <a:pos x="connsiteX1" y="connsiteY1"/>
              </a:cxn>
              <a:cxn ang="0">
                <a:pos x="connsiteX2" y="connsiteY2"/>
              </a:cxn>
            </a:cxnLst>
            <a:rect l="l" t="t" r="r" b="b"/>
            <a:pathLst>
              <a:path w="633506" h="1267011">
                <a:moveTo>
                  <a:pt x="0" y="1267012"/>
                </a:moveTo>
                <a:cubicBezTo>
                  <a:pt x="349890" y="1267012"/>
                  <a:pt x="633507" y="983395"/>
                  <a:pt x="633507" y="633506"/>
                </a:cubicBezTo>
                <a:cubicBezTo>
                  <a:pt x="633507" y="283616"/>
                  <a:pt x="349890" y="0"/>
                  <a:pt x="0" y="0"/>
                </a:cubicBezTo>
              </a:path>
            </a:pathLst>
          </a:custGeom>
          <a:solidFill>
            <a:srgbClr val="00AF8E"/>
          </a:solidFill>
          <a:ln w="8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25" name="Freihandform: Form 24">
            <a:extLst>
              <a:ext uri="{FF2B5EF4-FFF2-40B4-BE49-F238E27FC236}">
                <a16:creationId xmlns:a16="http://schemas.microsoft.com/office/drawing/2014/main" id="{CD407A78-56EA-480E-BC3A-FFD129224B8F}"/>
              </a:ext>
            </a:extLst>
          </p:cNvPr>
          <p:cNvSpPr/>
          <p:nvPr/>
        </p:nvSpPr>
        <p:spPr>
          <a:xfrm>
            <a:off x="10161734" y="2065311"/>
            <a:ext cx="1021405" cy="1021404"/>
          </a:xfrm>
          <a:custGeom>
            <a:avLst/>
            <a:gdLst>
              <a:gd name="connsiteX0" fmla="*/ 1021405 w 1021405"/>
              <a:gd name="connsiteY0" fmla="*/ 510702 h 1021404"/>
              <a:gd name="connsiteX1" fmla="*/ 510703 w 1021405"/>
              <a:gd name="connsiteY1" fmla="*/ 1021404 h 1021404"/>
              <a:gd name="connsiteX2" fmla="*/ 0 w 1021405"/>
              <a:gd name="connsiteY2" fmla="*/ 510702 h 1021404"/>
              <a:gd name="connsiteX3" fmla="*/ 510703 w 1021405"/>
              <a:gd name="connsiteY3" fmla="*/ 0 h 1021404"/>
              <a:gd name="connsiteX4" fmla="*/ 1021405 w 1021405"/>
              <a:gd name="connsiteY4" fmla="*/ 510702 h 102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405" h="1021404">
                <a:moveTo>
                  <a:pt x="1021405" y="510702"/>
                </a:moveTo>
                <a:cubicBezTo>
                  <a:pt x="1021405" y="792755"/>
                  <a:pt x="792756" y="1021404"/>
                  <a:pt x="510703" y="1021404"/>
                </a:cubicBezTo>
                <a:cubicBezTo>
                  <a:pt x="228649" y="1021404"/>
                  <a:pt x="0" y="792755"/>
                  <a:pt x="0" y="510702"/>
                </a:cubicBezTo>
                <a:cubicBezTo>
                  <a:pt x="0" y="228649"/>
                  <a:pt x="228649" y="0"/>
                  <a:pt x="510703" y="0"/>
                </a:cubicBezTo>
                <a:cubicBezTo>
                  <a:pt x="792756" y="0"/>
                  <a:pt x="1021405" y="228649"/>
                  <a:pt x="1021405" y="510702"/>
                </a:cubicBezTo>
                <a:close/>
              </a:path>
            </a:pathLst>
          </a:custGeom>
          <a:solidFill>
            <a:srgbClr val="00557C"/>
          </a:solidFill>
          <a:ln w="875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23" name="Rectangle 22">
            <a:extLst>
              <a:ext uri="{FF2B5EF4-FFF2-40B4-BE49-F238E27FC236}">
                <a16:creationId xmlns:a16="http://schemas.microsoft.com/office/drawing/2014/main" id="{6D184BF3-E71D-425A-BAD4-FC3848138E35}"/>
              </a:ext>
            </a:extLst>
          </p:cNvPr>
          <p:cNvSpPr>
            <a:spLocks/>
          </p:cNvSpPr>
          <p:nvPr/>
        </p:nvSpPr>
        <p:spPr bwMode="auto">
          <a:xfrm>
            <a:off x="9717170" y="1431403"/>
            <a:ext cx="1913167" cy="284303"/>
          </a:xfrm>
          <a:prstGeom prst="rect">
            <a:avLst/>
          </a:prstGeom>
          <a:no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Digitalize &amp; Transform</a:t>
            </a:r>
          </a:p>
        </p:txBody>
      </p:sp>
      <p:sp>
        <p:nvSpPr>
          <p:cNvPr id="100" name="Freihandform: Form 99">
            <a:extLst>
              <a:ext uri="{FF2B5EF4-FFF2-40B4-BE49-F238E27FC236}">
                <a16:creationId xmlns:a16="http://schemas.microsoft.com/office/drawing/2014/main" id="{75B2B3F0-2E9D-4AD9-957A-CCFC4C8084BD}"/>
              </a:ext>
            </a:extLst>
          </p:cNvPr>
          <p:cNvSpPr/>
          <p:nvPr/>
        </p:nvSpPr>
        <p:spPr>
          <a:xfrm>
            <a:off x="3161916" y="3692091"/>
            <a:ext cx="377452" cy="754906"/>
          </a:xfrm>
          <a:custGeom>
            <a:avLst/>
            <a:gdLst>
              <a:gd name="connsiteX0" fmla="*/ 377453 w 377452"/>
              <a:gd name="connsiteY0" fmla="*/ 0 h 754906"/>
              <a:gd name="connsiteX1" fmla="*/ 0 w 377452"/>
              <a:gd name="connsiteY1" fmla="*/ 377453 h 754906"/>
              <a:gd name="connsiteX2" fmla="*/ 377453 w 377452"/>
              <a:gd name="connsiteY2" fmla="*/ 754906 h 754906"/>
            </a:gdLst>
            <a:ahLst/>
            <a:cxnLst>
              <a:cxn ang="0">
                <a:pos x="connsiteX0" y="connsiteY0"/>
              </a:cxn>
              <a:cxn ang="0">
                <a:pos x="connsiteX1" y="connsiteY1"/>
              </a:cxn>
              <a:cxn ang="0">
                <a:pos x="connsiteX2" y="connsiteY2"/>
              </a:cxn>
            </a:cxnLst>
            <a:rect l="l" t="t" r="r" b="b"/>
            <a:pathLst>
              <a:path w="377452" h="754906">
                <a:moveTo>
                  <a:pt x="377453" y="0"/>
                </a:moveTo>
                <a:cubicBezTo>
                  <a:pt x="168976" y="0"/>
                  <a:pt x="0" y="168976"/>
                  <a:pt x="0" y="377453"/>
                </a:cubicBezTo>
                <a:cubicBezTo>
                  <a:pt x="0" y="585930"/>
                  <a:pt x="168976" y="754906"/>
                  <a:pt x="377453" y="754906"/>
                </a:cubicBezTo>
              </a:path>
            </a:pathLst>
          </a:custGeom>
          <a:solidFill>
            <a:schemeClr val="accent2"/>
          </a:solidFill>
          <a:ln w="86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101" name="Freihandform: Form 100">
            <a:extLst>
              <a:ext uri="{FF2B5EF4-FFF2-40B4-BE49-F238E27FC236}">
                <a16:creationId xmlns:a16="http://schemas.microsoft.com/office/drawing/2014/main" id="{BD14AF3E-1115-4585-955A-1E6389CF4B64}"/>
              </a:ext>
            </a:extLst>
          </p:cNvPr>
          <p:cNvSpPr/>
          <p:nvPr/>
        </p:nvSpPr>
        <p:spPr>
          <a:xfrm>
            <a:off x="3235036" y="3765211"/>
            <a:ext cx="608664" cy="608664"/>
          </a:xfrm>
          <a:custGeom>
            <a:avLst/>
            <a:gdLst>
              <a:gd name="connsiteX0" fmla="*/ 608665 w 608664"/>
              <a:gd name="connsiteY0" fmla="*/ 304332 h 608664"/>
              <a:gd name="connsiteX1" fmla="*/ 304332 w 608664"/>
              <a:gd name="connsiteY1" fmla="*/ 608665 h 608664"/>
              <a:gd name="connsiteX2" fmla="*/ 0 w 608664"/>
              <a:gd name="connsiteY2" fmla="*/ 304332 h 608664"/>
              <a:gd name="connsiteX3" fmla="*/ 304332 w 608664"/>
              <a:gd name="connsiteY3" fmla="*/ 0 h 608664"/>
              <a:gd name="connsiteX4" fmla="*/ 608665 w 608664"/>
              <a:gd name="connsiteY4" fmla="*/ 304332 h 60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8664" h="608664">
                <a:moveTo>
                  <a:pt x="608665" y="304332"/>
                </a:moveTo>
                <a:cubicBezTo>
                  <a:pt x="608665" y="472411"/>
                  <a:pt x="472410" y="608665"/>
                  <a:pt x="304332" y="608665"/>
                </a:cubicBezTo>
                <a:cubicBezTo>
                  <a:pt x="136254" y="608665"/>
                  <a:pt x="0" y="472411"/>
                  <a:pt x="0" y="304332"/>
                </a:cubicBezTo>
                <a:cubicBezTo>
                  <a:pt x="0" y="136254"/>
                  <a:pt x="136254" y="0"/>
                  <a:pt x="304332" y="0"/>
                </a:cubicBezTo>
                <a:cubicBezTo>
                  <a:pt x="472411" y="0"/>
                  <a:pt x="608665" y="136254"/>
                  <a:pt x="608665" y="304332"/>
                </a:cubicBezTo>
                <a:close/>
              </a:path>
            </a:pathLst>
          </a:custGeom>
          <a:solidFill>
            <a:srgbClr val="00AF8E"/>
          </a:solidFill>
          <a:ln w="86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32" name="Freihandform: Form 31">
            <a:extLst>
              <a:ext uri="{FF2B5EF4-FFF2-40B4-BE49-F238E27FC236}">
                <a16:creationId xmlns:a16="http://schemas.microsoft.com/office/drawing/2014/main" id="{BF31DE95-15DD-4103-BB9A-A27D825F4F7A}"/>
              </a:ext>
            </a:extLst>
          </p:cNvPr>
          <p:cNvSpPr/>
          <p:nvPr/>
        </p:nvSpPr>
        <p:spPr>
          <a:xfrm>
            <a:off x="5131870" y="3150253"/>
            <a:ext cx="472781" cy="945562"/>
          </a:xfrm>
          <a:custGeom>
            <a:avLst/>
            <a:gdLst>
              <a:gd name="connsiteX0" fmla="*/ 472781 w 472781"/>
              <a:gd name="connsiteY0" fmla="*/ 0 h 945562"/>
              <a:gd name="connsiteX1" fmla="*/ 0 w 472781"/>
              <a:gd name="connsiteY1" fmla="*/ 472781 h 945562"/>
              <a:gd name="connsiteX2" fmla="*/ 472781 w 472781"/>
              <a:gd name="connsiteY2" fmla="*/ 945562 h 945562"/>
            </a:gdLst>
            <a:ahLst/>
            <a:cxnLst>
              <a:cxn ang="0">
                <a:pos x="connsiteX0" y="connsiteY0"/>
              </a:cxn>
              <a:cxn ang="0">
                <a:pos x="connsiteX1" y="connsiteY1"/>
              </a:cxn>
              <a:cxn ang="0">
                <a:pos x="connsiteX2" y="connsiteY2"/>
              </a:cxn>
            </a:cxnLst>
            <a:rect l="l" t="t" r="r" b="b"/>
            <a:pathLst>
              <a:path w="472781" h="945562">
                <a:moveTo>
                  <a:pt x="472781" y="0"/>
                </a:moveTo>
                <a:cubicBezTo>
                  <a:pt x="211724" y="0"/>
                  <a:pt x="0" y="211724"/>
                  <a:pt x="0" y="472781"/>
                </a:cubicBezTo>
                <a:cubicBezTo>
                  <a:pt x="0" y="733838"/>
                  <a:pt x="211724" y="945562"/>
                  <a:pt x="472781" y="945562"/>
                </a:cubicBezTo>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33" name="Freihandform: Form 32">
            <a:extLst>
              <a:ext uri="{FF2B5EF4-FFF2-40B4-BE49-F238E27FC236}">
                <a16:creationId xmlns:a16="http://schemas.microsoft.com/office/drawing/2014/main" id="{55C28F62-F995-4587-961E-D6B22A76C919}"/>
              </a:ext>
            </a:extLst>
          </p:cNvPr>
          <p:cNvSpPr/>
          <p:nvPr/>
        </p:nvSpPr>
        <p:spPr>
          <a:xfrm>
            <a:off x="5604651" y="3150254"/>
            <a:ext cx="472781" cy="945649"/>
          </a:xfrm>
          <a:custGeom>
            <a:avLst/>
            <a:gdLst>
              <a:gd name="connsiteX0" fmla="*/ 0 w 472781"/>
              <a:gd name="connsiteY0" fmla="*/ 945650 h 945649"/>
              <a:gd name="connsiteX1" fmla="*/ 472781 w 472781"/>
              <a:gd name="connsiteY1" fmla="*/ 472869 h 945649"/>
              <a:gd name="connsiteX2" fmla="*/ 0 w 472781"/>
              <a:gd name="connsiteY2" fmla="*/ 0 h 945649"/>
            </a:gdLst>
            <a:ahLst/>
            <a:cxnLst>
              <a:cxn ang="0">
                <a:pos x="connsiteX0" y="connsiteY0"/>
              </a:cxn>
              <a:cxn ang="0">
                <a:pos x="connsiteX1" y="connsiteY1"/>
              </a:cxn>
              <a:cxn ang="0">
                <a:pos x="connsiteX2" y="connsiteY2"/>
              </a:cxn>
            </a:cxnLst>
            <a:rect l="l" t="t" r="r" b="b"/>
            <a:pathLst>
              <a:path w="472781" h="945649">
                <a:moveTo>
                  <a:pt x="0" y="945650"/>
                </a:moveTo>
                <a:cubicBezTo>
                  <a:pt x="261144" y="945650"/>
                  <a:pt x="472781" y="733926"/>
                  <a:pt x="472781" y="472869"/>
                </a:cubicBezTo>
                <a:cubicBezTo>
                  <a:pt x="472781" y="211812"/>
                  <a:pt x="261144" y="0"/>
                  <a:pt x="0" y="0"/>
                </a:cubicBezTo>
              </a:path>
            </a:pathLst>
          </a:custGeom>
          <a:solidFill>
            <a:srgbClr val="00AF8E"/>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34" name="Freihandform: Form 33">
            <a:extLst>
              <a:ext uri="{FF2B5EF4-FFF2-40B4-BE49-F238E27FC236}">
                <a16:creationId xmlns:a16="http://schemas.microsoft.com/office/drawing/2014/main" id="{C8EE0AB3-5360-4D53-9791-B8025283CFA6}"/>
              </a:ext>
            </a:extLst>
          </p:cNvPr>
          <p:cNvSpPr/>
          <p:nvPr/>
        </p:nvSpPr>
        <p:spPr>
          <a:xfrm>
            <a:off x="5223424" y="3241808"/>
            <a:ext cx="762453" cy="762453"/>
          </a:xfrm>
          <a:custGeom>
            <a:avLst/>
            <a:gdLst>
              <a:gd name="connsiteX0" fmla="*/ 762454 w 762453"/>
              <a:gd name="connsiteY0" fmla="*/ 381227 h 762453"/>
              <a:gd name="connsiteX1" fmla="*/ 381227 w 762453"/>
              <a:gd name="connsiteY1" fmla="*/ 762454 h 762453"/>
              <a:gd name="connsiteX2" fmla="*/ 0 w 762453"/>
              <a:gd name="connsiteY2" fmla="*/ 381227 h 762453"/>
              <a:gd name="connsiteX3" fmla="*/ 381227 w 762453"/>
              <a:gd name="connsiteY3" fmla="*/ 0 h 762453"/>
              <a:gd name="connsiteX4" fmla="*/ 762454 w 762453"/>
              <a:gd name="connsiteY4" fmla="*/ 381227 h 7624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453" h="762453">
                <a:moveTo>
                  <a:pt x="762454" y="381227"/>
                </a:moveTo>
                <a:cubicBezTo>
                  <a:pt x="762454" y="591773"/>
                  <a:pt x="591773" y="762454"/>
                  <a:pt x="381227" y="762454"/>
                </a:cubicBezTo>
                <a:cubicBezTo>
                  <a:pt x="170681" y="762454"/>
                  <a:pt x="0" y="591773"/>
                  <a:pt x="0" y="381227"/>
                </a:cubicBezTo>
                <a:cubicBezTo>
                  <a:pt x="0" y="170681"/>
                  <a:pt x="170681" y="0"/>
                  <a:pt x="381227" y="0"/>
                </a:cubicBezTo>
                <a:cubicBezTo>
                  <a:pt x="591773" y="0"/>
                  <a:pt x="762454" y="170681"/>
                  <a:pt x="762454" y="381227"/>
                </a:cubicBezTo>
                <a:close/>
              </a:path>
            </a:pathLst>
          </a:custGeom>
          <a:solidFill>
            <a:srgbClr val="009999"/>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3" name="Freihandform: Form 2">
            <a:extLst>
              <a:ext uri="{FF2B5EF4-FFF2-40B4-BE49-F238E27FC236}">
                <a16:creationId xmlns:a16="http://schemas.microsoft.com/office/drawing/2014/main" id="{129CE6F5-06C6-4F66-A747-1B1BF03D4E83}"/>
              </a:ext>
            </a:extLst>
          </p:cNvPr>
          <p:cNvSpPr/>
          <p:nvPr/>
        </p:nvSpPr>
        <p:spPr>
          <a:xfrm>
            <a:off x="7365159" y="2546491"/>
            <a:ext cx="1260780" cy="630432"/>
          </a:xfrm>
          <a:custGeom>
            <a:avLst/>
            <a:gdLst>
              <a:gd name="connsiteX0" fmla="*/ 1260780 w 1260780"/>
              <a:gd name="connsiteY0" fmla="*/ 630433 h 630432"/>
              <a:gd name="connsiteX1" fmla="*/ 630434 w 1260780"/>
              <a:gd name="connsiteY1" fmla="*/ 0 h 630432"/>
              <a:gd name="connsiteX2" fmla="*/ 0 w 1260780"/>
              <a:gd name="connsiteY2" fmla="*/ 630433 h 630432"/>
              <a:gd name="connsiteX3" fmla="*/ 1260780 w 1260780"/>
              <a:gd name="connsiteY3" fmla="*/ 630433 h 630432"/>
            </a:gdLst>
            <a:ahLst/>
            <a:cxnLst>
              <a:cxn ang="0">
                <a:pos x="connsiteX0" y="connsiteY0"/>
              </a:cxn>
              <a:cxn ang="0">
                <a:pos x="connsiteX1" y="connsiteY1"/>
              </a:cxn>
              <a:cxn ang="0">
                <a:pos x="connsiteX2" y="connsiteY2"/>
              </a:cxn>
              <a:cxn ang="0">
                <a:pos x="connsiteX3" y="connsiteY3"/>
              </a:cxn>
            </a:cxnLst>
            <a:rect l="l" t="t" r="r" b="b"/>
            <a:pathLst>
              <a:path w="1260780" h="630432">
                <a:moveTo>
                  <a:pt x="1260780" y="630433"/>
                </a:moveTo>
                <a:cubicBezTo>
                  <a:pt x="1260780" y="282211"/>
                  <a:pt x="978568" y="0"/>
                  <a:pt x="630434" y="0"/>
                </a:cubicBezTo>
                <a:cubicBezTo>
                  <a:pt x="282300" y="0"/>
                  <a:pt x="0" y="282211"/>
                  <a:pt x="0" y="630433"/>
                </a:cubicBezTo>
                <a:lnTo>
                  <a:pt x="1260780" y="630433"/>
                </a:lnTo>
                <a:close/>
              </a:path>
            </a:pathLst>
          </a:custGeom>
          <a:solidFill>
            <a:srgbClr val="009999"/>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5" name="Freihandform: Form 4">
            <a:extLst>
              <a:ext uri="{FF2B5EF4-FFF2-40B4-BE49-F238E27FC236}">
                <a16:creationId xmlns:a16="http://schemas.microsoft.com/office/drawing/2014/main" id="{CEB2DDA2-E08E-4750-B52C-6DAB79D7FF39}"/>
              </a:ext>
            </a:extLst>
          </p:cNvPr>
          <p:cNvSpPr/>
          <p:nvPr/>
        </p:nvSpPr>
        <p:spPr>
          <a:xfrm>
            <a:off x="7468740" y="2650071"/>
            <a:ext cx="526853" cy="1053705"/>
          </a:xfrm>
          <a:custGeom>
            <a:avLst/>
            <a:gdLst>
              <a:gd name="connsiteX0" fmla="*/ 526854 w 526853"/>
              <a:gd name="connsiteY0" fmla="*/ 0 h 1053705"/>
              <a:gd name="connsiteX1" fmla="*/ 0 w 526853"/>
              <a:gd name="connsiteY1" fmla="*/ 526853 h 1053705"/>
              <a:gd name="connsiteX2" fmla="*/ 526854 w 526853"/>
              <a:gd name="connsiteY2" fmla="*/ 1053706 h 1053705"/>
            </a:gdLst>
            <a:ahLst/>
            <a:cxnLst>
              <a:cxn ang="0">
                <a:pos x="connsiteX0" y="connsiteY0"/>
              </a:cxn>
              <a:cxn ang="0">
                <a:pos x="connsiteX1" y="connsiteY1"/>
              </a:cxn>
              <a:cxn ang="0">
                <a:pos x="connsiteX2" y="connsiteY2"/>
              </a:cxn>
            </a:cxnLst>
            <a:rect l="l" t="t" r="r" b="b"/>
            <a:pathLst>
              <a:path w="526853" h="1053705">
                <a:moveTo>
                  <a:pt x="526854" y="0"/>
                </a:moveTo>
                <a:cubicBezTo>
                  <a:pt x="235864" y="0"/>
                  <a:pt x="0" y="235864"/>
                  <a:pt x="0" y="526853"/>
                </a:cubicBezTo>
                <a:cubicBezTo>
                  <a:pt x="0" y="817842"/>
                  <a:pt x="235864" y="1053706"/>
                  <a:pt x="526854" y="1053706"/>
                </a:cubicBezTo>
              </a:path>
            </a:pathLst>
          </a:custGeom>
          <a:solidFill>
            <a:schemeClr val="accent2"/>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6" name="Freihandform: Form 5">
            <a:extLst>
              <a:ext uri="{FF2B5EF4-FFF2-40B4-BE49-F238E27FC236}">
                <a16:creationId xmlns:a16="http://schemas.microsoft.com/office/drawing/2014/main" id="{54232D26-469B-46FE-AA91-DC17707DBFFF}"/>
              </a:ext>
            </a:extLst>
          </p:cNvPr>
          <p:cNvSpPr/>
          <p:nvPr/>
        </p:nvSpPr>
        <p:spPr>
          <a:xfrm>
            <a:off x="7995593" y="2650071"/>
            <a:ext cx="526853" cy="1053705"/>
          </a:xfrm>
          <a:custGeom>
            <a:avLst/>
            <a:gdLst>
              <a:gd name="connsiteX0" fmla="*/ 0 w 526853"/>
              <a:gd name="connsiteY0" fmla="*/ 1053706 h 1053705"/>
              <a:gd name="connsiteX1" fmla="*/ 526854 w 526853"/>
              <a:gd name="connsiteY1" fmla="*/ 526853 h 1053705"/>
              <a:gd name="connsiteX2" fmla="*/ 0 w 526853"/>
              <a:gd name="connsiteY2" fmla="*/ 0 h 1053705"/>
            </a:gdLst>
            <a:ahLst/>
            <a:cxnLst>
              <a:cxn ang="0">
                <a:pos x="connsiteX0" y="connsiteY0"/>
              </a:cxn>
              <a:cxn ang="0">
                <a:pos x="connsiteX1" y="connsiteY1"/>
              </a:cxn>
              <a:cxn ang="0">
                <a:pos x="connsiteX2" y="connsiteY2"/>
              </a:cxn>
            </a:cxnLst>
            <a:rect l="l" t="t" r="r" b="b"/>
            <a:pathLst>
              <a:path w="526853" h="1053705">
                <a:moveTo>
                  <a:pt x="0" y="1053706"/>
                </a:moveTo>
                <a:cubicBezTo>
                  <a:pt x="290990" y="1053706"/>
                  <a:pt x="526854" y="817842"/>
                  <a:pt x="526854" y="526853"/>
                </a:cubicBezTo>
                <a:cubicBezTo>
                  <a:pt x="526854" y="235864"/>
                  <a:pt x="290902" y="0"/>
                  <a:pt x="0" y="0"/>
                </a:cubicBezTo>
              </a:path>
            </a:pathLst>
          </a:custGeom>
          <a:solidFill>
            <a:srgbClr val="00AF8E"/>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15" name="Freihandform: Form 14">
            <a:extLst>
              <a:ext uri="{FF2B5EF4-FFF2-40B4-BE49-F238E27FC236}">
                <a16:creationId xmlns:a16="http://schemas.microsoft.com/office/drawing/2014/main" id="{63BB7099-3F9C-4B1C-B0FC-2428FF4711E2}"/>
              </a:ext>
            </a:extLst>
          </p:cNvPr>
          <p:cNvSpPr/>
          <p:nvPr/>
        </p:nvSpPr>
        <p:spPr>
          <a:xfrm>
            <a:off x="7570826" y="2752158"/>
            <a:ext cx="849532" cy="849530"/>
          </a:xfrm>
          <a:custGeom>
            <a:avLst/>
            <a:gdLst>
              <a:gd name="connsiteX0" fmla="*/ 849532 w 849532"/>
              <a:gd name="connsiteY0" fmla="*/ 424765 h 849530"/>
              <a:gd name="connsiteX1" fmla="*/ 424766 w 849532"/>
              <a:gd name="connsiteY1" fmla="*/ 849530 h 849530"/>
              <a:gd name="connsiteX2" fmla="*/ 0 w 849532"/>
              <a:gd name="connsiteY2" fmla="*/ 424765 h 849530"/>
              <a:gd name="connsiteX3" fmla="*/ 424766 w 849532"/>
              <a:gd name="connsiteY3" fmla="*/ 0 h 849530"/>
              <a:gd name="connsiteX4" fmla="*/ 849532 w 849532"/>
              <a:gd name="connsiteY4" fmla="*/ 424765 h 8495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532" h="849530">
                <a:moveTo>
                  <a:pt x="849532" y="424765"/>
                </a:moveTo>
                <a:cubicBezTo>
                  <a:pt x="849532" y="659357"/>
                  <a:pt x="659358" y="849530"/>
                  <a:pt x="424766" y="849530"/>
                </a:cubicBezTo>
                <a:cubicBezTo>
                  <a:pt x="190174" y="849530"/>
                  <a:pt x="0" y="659357"/>
                  <a:pt x="0" y="424765"/>
                </a:cubicBezTo>
                <a:cubicBezTo>
                  <a:pt x="0" y="190174"/>
                  <a:pt x="190174" y="0"/>
                  <a:pt x="424766" y="0"/>
                </a:cubicBezTo>
                <a:cubicBezTo>
                  <a:pt x="659358" y="0"/>
                  <a:pt x="849532" y="190174"/>
                  <a:pt x="849532" y="424765"/>
                </a:cubicBezTo>
                <a:close/>
              </a:path>
            </a:pathLst>
          </a:custGeom>
          <a:solidFill>
            <a:srgbClr val="00646E"/>
          </a:solidFill>
          <a:ln w="873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ＭＳ Ｐゴシック" charset="-128"/>
              <a:cs typeface="+mn-cs"/>
            </a:endParaRPr>
          </a:p>
        </p:txBody>
      </p:sp>
      <p:sp>
        <p:nvSpPr>
          <p:cNvPr id="28" name="Rectangle 27">
            <a:extLst>
              <a:ext uri="{FF2B5EF4-FFF2-40B4-BE49-F238E27FC236}">
                <a16:creationId xmlns:a16="http://schemas.microsoft.com/office/drawing/2014/main" id="{E6BF0322-BAB7-480A-907F-83CD81C5CEDB}"/>
              </a:ext>
            </a:extLst>
          </p:cNvPr>
          <p:cNvSpPr>
            <a:spLocks/>
          </p:cNvSpPr>
          <p:nvPr/>
        </p:nvSpPr>
        <p:spPr bwMode="auto">
          <a:xfrm>
            <a:off x="7040591" y="2173531"/>
            <a:ext cx="1913167" cy="284303"/>
          </a:xfrm>
          <a:prstGeom prst="rect">
            <a:avLst/>
          </a:prstGeom>
          <a:no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Predict &amp; Analyze</a:t>
            </a:r>
          </a:p>
        </p:txBody>
      </p:sp>
      <p:sp>
        <p:nvSpPr>
          <p:cNvPr id="29" name="Rectangle 28">
            <a:extLst>
              <a:ext uri="{FF2B5EF4-FFF2-40B4-BE49-F238E27FC236}">
                <a16:creationId xmlns:a16="http://schemas.microsoft.com/office/drawing/2014/main" id="{C63921D1-71DF-4CC8-A214-FEB051ADDF57}"/>
              </a:ext>
            </a:extLst>
          </p:cNvPr>
          <p:cNvSpPr>
            <a:spLocks/>
          </p:cNvSpPr>
          <p:nvPr/>
        </p:nvSpPr>
        <p:spPr bwMode="auto">
          <a:xfrm>
            <a:off x="4803949" y="2784152"/>
            <a:ext cx="1603861" cy="284303"/>
          </a:xfrm>
          <a:prstGeom prst="rect">
            <a:avLst/>
          </a:prstGeom>
          <a:no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Connect &amp; Monitor</a:t>
            </a:r>
          </a:p>
        </p:txBody>
      </p:sp>
      <p:sp>
        <p:nvSpPr>
          <p:cNvPr id="30" name="Rectangle 29">
            <a:extLst>
              <a:ext uri="{FF2B5EF4-FFF2-40B4-BE49-F238E27FC236}">
                <a16:creationId xmlns:a16="http://schemas.microsoft.com/office/drawing/2014/main" id="{7FA846DF-6CAC-4E3D-91A9-601369276C3C}"/>
              </a:ext>
            </a:extLst>
          </p:cNvPr>
          <p:cNvSpPr>
            <a:spLocks/>
          </p:cNvSpPr>
          <p:nvPr/>
        </p:nvSpPr>
        <p:spPr bwMode="auto">
          <a:xfrm>
            <a:off x="2702328" y="3334477"/>
            <a:ext cx="1603861" cy="284303"/>
          </a:xfrm>
          <a:prstGeom prst="rect">
            <a:avLst/>
          </a:prstGeom>
          <a:noFill/>
          <a:ln>
            <a:noFill/>
          </a:ln>
          <a:effectLst/>
        </p:spPr>
        <p:txBody>
          <a:bodyPr rot="0" spcFirstLastPara="0" vertOverflow="overflow" horzOverflow="overflow" vert="horz" wrap="square" lIns="0" tIns="0" rIns="0" bIns="0" numCol="1" spcCol="72000" rtlCol="0" fromWordArt="0" anchor="ctr" anchorCtr="0" forceAA="0" compatLnSpc="1">
            <a:prstTxWarp prst="textNoShape">
              <a:avLst/>
            </a:prstTxWarp>
            <a:no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1" i="0" u="none" strike="noStrike" kern="1200" cap="none" spc="0" normalizeH="0" baseline="0" noProof="0" dirty="0" err="1">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IIoT</a:t>
            </a:r>
            <a:r>
              <a:rPr kumimoji="0" lang="en-US" sz="1400" b="1" i="0" u="none" strike="noStrike" kern="1200" cap="none" spc="0" normalizeH="0" baseline="0" noProof="0" dirty="0">
                <a:ln>
                  <a:noFill/>
                </a:ln>
                <a:solidFill>
                  <a:srgbClr val="FFFFFF"/>
                </a:solidFill>
                <a:effectLst/>
                <a:uLnTx/>
                <a:uFillTx/>
                <a:latin typeface="Arial" pitchFamily="34" charset="0"/>
                <a:ea typeface="Arial Unicode MS" panose="020B0604020202020204" pitchFamily="34" charset="-128"/>
                <a:cs typeface="Arial Unicode MS" panose="020B0604020202020204" pitchFamily="34" charset="-128"/>
              </a:rPr>
              <a:t> out of the Box</a:t>
            </a:r>
          </a:p>
        </p:txBody>
      </p:sp>
      <p:sp>
        <p:nvSpPr>
          <p:cNvPr id="47" name="Titel 34">
            <a:extLst>
              <a:ext uri="{FF2B5EF4-FFF2-40B4-BE49-F238E27FC236}">
                <a16:creationId xmlns:a16="http://schemas.microsoft.com/office/drawing/2014/main" id="{3F737F3D-3C3F-471D-8D68-F0F079077696}"/>
              </a:ext>
            </a:extLst>
          </p:cNvPr>
          <p:cNvSpPr>
            <a:spLocks noGrp="1"/>
          </p:cNvSpPr>
          <p:nvPr>
            <p:ph type="title"/>
          </p:nvPr>
        </p:nvSpPr>
        <p:spPr>
          <a:xfrm>
            <a:off x="413576" y="478800"/>
            <a:ext cx="9863997" cy="576000"/>
          </a:xfrm>
        </p:spPr>
        <p:txBody>
          <a:bodyPr vert="horz"/>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itchFamily="34" charset="0"/>
              </a:rPr>
              <a:t>A Roadmap to success – Our Digital Transformation Journey </a:t>
            </a:r>
            <a:b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itchFamily="34" charset="0"/>
              </a:rPr>
            </a:br>
            <a:r>
              <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itchFamily="34" charset="0"/>
              </a:rPr>
              <a:t>drives scalability and customer value</a:t>
            </a:r>
          </a:p>
        </p:txBody>
      </p:sp>
      <p:sp>
        <p:nvSpPr>
          <p:cNvPr id="2" name="Fußzeilenplatzhalter 1">
            <a:extLst>
              <a:ext uri="{FF2B5EF4-FFF2-40B4-BE49-F238E27FC236}">
                <a16:creationId xmlns:a16="http://schemas.microsoft.com/office/drawing/2014/main" id="{F65E9955-DE9D-4292-ACFB-D2F158A633A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Arial"/>
                <a:ea typeface="ＭＳ Ｐゴシック" charset="-128"/>
                <a:cs typeface="+mn-cs"/>
              </a:rPr>
              <a:t>Restricted | © Siemens 2022 | September 2021</a:t>
            </a:r>
            <a:endParaRPr kumimoji="0" lang="en-US" sz="900" b="0" i="0" u="none" strike="noStrike" kern="1200" cap="none" spc="0" normalizeH="0" baseline="0" noProof="0" dirty="0">
              <a:ln>
                <a:noFill/>
              </a:ln>
              <a:solidFill>
                <a:prstClr val="white"/>
              </a:solidFill>
              <a:effectLst/>
              <a:uLnTx/>
              <a:uFillTx/>
              <a:latin typeface="Arial"/>
              <a:ea typeface="ＭＳ Ｐゴシック" charset="-128"/>
              <a:cs typeface="+mn-cs"/>
            </a:endParaRPr>
          </a:p>
        </p:txBody>
      </p:sp>
      <p:sp>
        <p:nvSpPr>
          <p:cNvPr id="16" name="Foliennummernplatzhalter 15">
            <a:extLst>
              <a:ext uri="{FF2B5EF4-FFF2-40B4-BE49-F238E27FC236}">
                <a16:creationId xmlns:a16="http://schemas.microsoft.com/office/drawing/2014/main" id="{8618712A-F076-4012-BBEA-453E2CD848A1}"/>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Arial"/>
                <a:ea typeface="ＭＳ Ｐゴシック" charset="-128"/>
                <a:cs typeface="+mn-cs"/>
              </a:rPr>
              <a:t>Page </a:t>
            </a:r>
            <a:fld id="{15EBE321-CBB1-4E91-BD14-37C8D44326FB}" type="slidenum">
              <a:rPr kumimoji="0" lang="en-US" sz="900" b="1" i="0" u="none" strike="noStrike" kern="1200" cap="none" spc="0" normalizeH="0" baseline="0" noProof="0">
                <a:ln>
                  <a:noFill/>
                </a:ln>
                <a:solidFill>
                  <a:prstClr val="white"/>
                </a:solidFill>
                <a:effectLst/>
                <a:uLnTx/>
                <a:uFillTx/>
                <a:latin typeface="Arial"/>
                <a:ea typeface="ＭＳ Ｐゴシック" charset="-128"/>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US" sz="900" b="1" i="0" u="none" strike="noStrike" kern="1200" cap="none" spc="0" normalizeH="0" baseline="0" noProof="0" dirty="0">
              <a:ln>
                <a:noFill/>
              </a:ln>
              <a:solidFill>
                <a:prstClr val="white"/>
              </a:solidFill>
              <a:effectLst/>
              <a:uLnTx/>
              <a:uFillTx/>
              <a:latin typeface="Arial"/>
              <a:ea typeface="ＭＳ Ｐゴシック" charset="-128"/>
              <a:cs typeface="+mn-cs"/>
            </a:endParaRPr>
          </a:p>
        </p:txBody>
      </p:sp>
      <p:cxnSp>
        <p:nvCxnSpPr>
          <p:cNvPr id="58" name="Gerade Verbindung mit Pfeil 57">
            <a:extLst>
              <a:ext uri="{FF2B5EF4-FFF2-40B4-BE49-F238E27FC236}">
                <a16:creationId xmlns:a16="http://schemas.microsoft.com/office/drawing/2014/main" id="{1EE05365-3558-4E86-8A1B-184C81114CC6}"/>
              </a:ext>
            </a:extLst>
          </p:cNvPr>
          <p:cNvCxnSpPr>
            <a:cxnSpLocks/>
          </p:cNvCxnSpPr>
          <p:nvPr/>
        </p:nvCxnSpPr>
        <p:spPr>
          <a:xfrm flipV="1">
            <a:off x="606133" y="1430974"/>
            <a:ext cx="0" cy="3105542"/>
          </a:xfrm>
          <a:prstGeom prst="straightConnector1">
            <a:avLst/>
          </a:prstGeom>
          <a:ln w="1270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66A06B7C-2144-4C89-9043-8AE769A84920}"/>
              </a:ext>
            </a:extLst>
          </p:cNvPr>
          <p:cNvSpPr>
            <a:spLocks/>
          </p:cNvSpPr>
          <p:nvPr/>
        </p:nvSpPr>
        <p:spPr bwMode="auto">
          <a:xfrm rot="16200000">
            <a:off x="-548812" y="2819981"/>
            <a:ext cx="2309890" cy="327528"/>
          </a:xfrm>
          <a:prstGeom prst="rect">
            <a:avLst/>
          </a:prstGeom>
          <a:solidFill>
            <a:schemeClr val="accent6"/>
          </a:solidFill>
          <a:ln>
            <a:noFill/>
          </a:ln>
          <a:effectLst/>
        </p:spPr>
        <p:txBody>
          <a:bodyPr rot="0" spcFirstLastPara="0" vertOverflow="overflow" horzOverflow="overflow" vert="horz" wrap="square" lIns="35962" tIns="53944" rIns="35962" bIns="53944" numCol="1" spcCol="72000" rtlCol="0" fromWordArt="0" anchor="ctr" anchorCtr="0" forceAA="0" compatLnSpc="1">
            <a:prstTxWarp prst="textNoShape">
              <a:avLst/>
            </a:prstTxWarp>
            <a:sp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D7A0"/>
                </a:solidFill>
                <a:effectLst/>
                <a:uLnTx/>
                <a:uFillTx/>
                <a:latin typeface="Arial" pitchFamily="34" charset="0"/>
                <a:ea typeface="Arial Unicode MS" panose="020B0604020202020204" pitchFamily="34" charset="-128"/>
                <a:cs typeface="Arial Unicode MS" panose="020B0604020202020204" pitchFamily="34" charset="-128"/>
              </a:rPr>
              <a:t>IIOT VALUE GENERATION</a:t>
            </a:r>
          </a:p>
        </p:txBody>
      </p:sp>
      <p:cxnSp>
        <p:nvCxnSpPr>
          <p:cNvPr id="63" name="Gerade Verbindung mit Pfeil 62">
            <a:extLst>
              <a:ext uri="{FF2B5EF4-FFF2-40B4-BE49-F238E27FC236}">
                <a16:creationId xmlns:a16="http://schemas.microsoft.com/office/drawing/2014/main" id="{02AEB09E-4489-4FD3-963A-0A8876B6652A}"/>
              </a:ext>
            </a:extLst>
          </p:cNvPr>
          <p:cNvCxnSpPr>
            <a:cxnSpLocks/>
          </p:cNvCxnSpPr>
          <p:nvPr/>
        </p:nvCxnSpPr>
        <p:spPr>
          <a:xfrm>
            <a:off x="413575" y="5997770"/>
            <a:ext cx="11376788" cy="0"/>
          </a:xfrm>
          <a:prstGeom prst="straightConnector1">
            <a:avLst/>
          </a:prstGeom>
          <a:ln w="12700">
            <a:solidFill>
              <a:schemeClr val="accent2"/>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3850326-0709-4BDC-8A45-DBE120C53A76}"/>
              </a:ext>
            </a:extLst>
          </p:cNvPr>
          <p:cNvSpPr>
            <a:spLocks/>
          </p:cNvSpPr>
          <p:nvPr/>
        </p:nvSpPr>
        <p:spPr bwMode="auto">
          <a:xfrm>
            <a:off x="4289425" y="5834006"/>
            <a:ext cx="3619500" cy="327528"/>
          </a:xfrm>
          <a:prstGeom prst="rect">
            <a:avLst/>
          </a:prstGeom>
          <a:solidFill>
            <a:schemeClr val="accent6"/>
          </a:solidFill>
          <a:ln>
            <a:noFill/>
          </a:ln>
          <a:effectLst/>
        </p:spPr>
        <p:txBody>
          <a:bodyPr rot="0" spcFirstLastPara="0" vertOverflow="overflow" horzOverflow="overflow" vert="horz" wrap="square" lIns="35962" tIns="53944" rIns="35962" bIns="53944" numCol="1" spcCol="72000" rtlCol="0" fromWordArt="0" anchor="ctr" anchorCtr="0" forceAA="0" compatLnSpc="1">
            <a:prstTxWarp prst="textNoShape">
              <a:avLst/>
            </a:prstTxWarp>
            <a:spAutoFit/>
          </a:bodyPr>
          <a:lstStyle/>
          <a:p>
            <a:pPr marL="0" marR="0" lvl="0" indent="0" algn="ctr" defTabSz="913943" rtl="0" eaLnBrk="1" fontAlgn="base" latinLnBrk="0" hangingPunct="1">
              <a:lnSpc>
                <a:spcPct val="11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D7A0"/>
                </a:solidFill>
                <a:effectLst/>
                <a:uLnTx/>
                <a:uFillTx/>
                <a:latin typeface="Arial" pitchFamily="34" charset="0"/>
                <a:ea typeface="Arial Unicode MS" panose="020B0604020202020204" pitchFamily="34" charset="-128"/>
                <a:cs typeface="+mn-cs"/>
              </a:rPr>
              <a:t>DIGITAL </a:t>
            </a:r>
            <a:r>
              <a:rPr kumimoji="0" lang="en-US" sz="1400" b="0" i="0" u="none" strike="noStrike" kern="1200" cap="none" spc="0" normalizeH="0" baseline="0" noProof="0">
                <a:ln>
                  <a:noFill/>
                </a:ln>
                <a:solidFill>
                  <a:srgbClr val="00D7A0"/>
                </a:solidFill>
                <a:effectLst/>
                <a:uLnTx/>
                <a:uFillTx/>
                <a:latin typeface="Arial" pitchFamily="34" charset="0"/>
                <a:ea typeface="Arial Unicode MS" panose="020B0604020202020204" pitchFamily="34" charset="-128"/>
                <a:cs typeface="+mn-cs"/>
              </a:rPr>
              <a:t>TRANSFORMATION JOURNEY</a:t>
            </a:r>
            <a:endParaRPr kumimoji="0" lang="en-US" sz="1400" b="0" i="0" u="none" strike="noStrike" kern="1200" cap="none" spc="0" normalizeH="0" baseline="0" noProof="0" dirty="0">
              <a:ln>
                <a:noFill/>
              </a:ln>
              <a:solidFill>
                <a:srgbClr val="00D7A0"/>
              </a:solidFill>
              <a:effectLst/>
              <a:uLnTx/>
              <a:uFillTx/>
              <a:latin typeface="Arial" pitchFamily="34" charset="0"/>
              <a:ea typeface="Arial Unicode MS" panose="020B0604020202020204" pitchFamily="34" charset="-128"/>
              <a:cs typeface="+mn-cs"/>
            </a:endParaRPr>
          </a:p>
        </p:txBody>
      </p:sp>
      <p:cxnSp>
        <p:nvCxnSpPr>
          <p:cNvPr id="72" name="Gerade Verbindung mit Pfeil 71">
            <a:extLst>
              <a:ext uri="{FF2B5EF4-FFF2-40B4-BE49-F238E27FC236}">
                <a16:creationId xmlns:a16="http://schemas.microsoft.com/office/drawing/2014/main" id="{E685878B-E150-4333-9FB2-5D1099C80E9F}"/>
              </a:ext>
            </a:extLst>
          </p:cNvPr>
          <p:cNvCxnSpPr>
            <a:cxnSpLocks/>
          </p:cNvCxnSpPr>
          <p:nvPr/>
        </p:nvCxnSpPr>
        <p:spPr>
          <a:xfrm>
            <a:off x="5601011" y="4067164"/>
            <a:ext cx="0" cy="595235"/>
          </a:xfrm>
          <a:prstGeom prst="straightConnector1">
            <a:avLst/>
          </a:prstGeom>
          <a:ln w="9525">
            <a:solidFill>
              <a:schemeClr val="accent2"/>
            </a:solidFill>
            <a:headEnd w="lg" len="lg"/>
            <a:tailEnd type="oval"/>
          </a:ln>
        </p:spPr>
        <p:style>
          <a:lnRef idx="1">
            <a:schemeClr val="accent1"/>
          </a:lnRef>
          <a:fillRef idx="0">
            <a:schemeClr val="accent1"/>
          </a:fillRef>
          <a:effectRef idx="0">
            <a:schemeClr val="accent1"/>
          </a:effectRef>
          <a:fontRef idx="minor">
            <a:schemeClr val="tx1"/>
          </a:fontRef>
        </p:style>
      </p:cxnSp>
      <p:cxnSp>
        <p:nvCxnSpPr>
          <p:cNvPr id="75" name="Gerade Verbindung mit Pfeil 74">
            <a:extLst>
              <a:ext uri="{FF2B5EF4-FFF2-40B4-BE49-F238E27FC236}">
                <a16:creationId xmlns:a16="http://schemas.microsoft.com/office/drawing/2014/main" id="{DFDADE89-87E6-4E6B-B316-84B6A29161A3}"/>
              </a:ext>
            </a:extLst>
          </p:cNvPr>
          <p:cNvCxnSpPr>
            <a:cxnSpLocks/>
          </p:cNvCxnSpPr>
          <p:nvPr/>
        </p:nvCxnSpPr>
        <p:spPr>
          <a:xfrm>
            <a:off x="10665815" y="3125836"/>
            <a:ext cx="0" cy="1536562"/>
          </a:xfrm>
          <a:prstGeom prst="straightConnector1">
            <a:avLst/>
          </a:prstGeom>
          <a:ln w="9525">
            <a:solidFill>
              <a:schemeClr val="accent2"/>
            </a:solidFill>
            <a:headEnd w="lg" len="lg"/>
            <a:tailEnd type="oval"/>
          </a:ln>
        </p:spPr>
        <p:style>
          <a:lnRef idx="1">
            <a:schemeClr val="accent1"/>
          </a:lnRef>
          <a:fillRef idx="0">
            <a:schemeClr val="accent1"/>
          </a:fillRef>
          <a:effectRef idx="0">
            <a:schemeClr val="accent1"/>
          </a:effectRef>
          <a:fontRef idx="minor">
            <a:schemeClr val="tx1"/>
          </a:fontRef>
        </p:style>
      </p:cxnSp>
      <p:sp>
        <p:nvSpPr>
          <p:cNvPr id="77" name="Pfeil: nach rechts 76">
            <a:extLst>
              <a:ext uri="{FF2B5EF4-FFF2-40B4-BE49-F238E27FC236}">
                <a16:creationId xmlns:a16="http://schemas.microsoft.com/office/drawing/2014/main" id="{D01FE748-8C8C-4FAE-B32C-61BB9826EF2F}"/>
              </a:ext>
            </a:extLst>
          </p:cNvPr>
          <p:cNvSpPr>
            <a:spLocks/>
          </p:cNvSpPr>
          <p:nvPr/>
        </p:nvSpPr>
        <p:spPr>
          <a:xfrm>
            <a:off x="414339" y="5476977"/>
            <a:ext cx="2400471" cy="329216"/>
          </a:xfrm>
          <a:prstGeom prst="rightArrow">
            <a:avLst>
              <a:gd name="adj1" fmla="val 100000"/>
              <a:gd name="adj2" fmla="val 37713"/>
            </a:avLst>
          </a:pr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nchorCtr="0"/>
          <a:lstStyle/>
          <a:p>
            <a:pPr marL="0" marR="0" lvl="0" indent="0" algn="ctr" defTabSz="799700" rtl="0" eaLnBrk="1" fontAlgn="base"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000028"/>
                </a:solidFill>
                <a:effectLst/>
                <a:uLnTx/>
                <a:uFillTx/>
                <a:latin typeface="Arial"/>
                <a:ea typeface="+mn-ea"/>
                <a:cs typeface="+mn-cs"/>
              </a:rPr>
              <a:t>Consulting</a:t>
            </a:r>
            <a:endParaRPr kumimoji="0" lang="en-US" sz="1400" b="1" i="0" u="none" strike="noStrike" kern="1200" cap="none" spc="0" normalizeH="0" baseline="0" noProof="0" dirty="0">
              <a:ln>
                <a:noFill/>
              </a:ln>
              <a:solidFill>
                <a:srgbClr val="000028"/>
              </a:solidFill>
              <a:effectLst/>
              <a:uLnTx/>
              <a:uFillTx/>
              <a:latin typeface="Arial"/>
              <a:ea typeface="+mn-ea"/>
              <a:cs typeface="+mn-cs"/>
            </a:endParaRPr>
          </a:p>
        </p:txBody>
      </p:sp>
      <p:sp>
        <p:nvSpPr>
          <p:cNvPr id="88" name="Freihandform: Form 87">
            <a:extLst>
              <a:ext uri="{FF2B5EF4-FFF2-40B4-BE49-F238E27FC236}">
                <a16:creationId xmlns:a16="http://schemas.microsoft.com/office/drawing/2014/main" id="{2E3E6D60-523E-4B22-A764-735A4F0F501F}"/>
              </a:ext>
            </a:extLst>
          </p:cNvPr>
          <p:cNvSpPr>
            <a:spLocks/>
          </p:cNvSpPr>
          <p:nvPr/>
        </p:nvSpPr>
        <p:spPr>
          <a:xfrm>
            <a:off x="2690652" y="5476977"/>
            <a:ext cx="4013704" cy="329216"/>
          </a:xfrm>
          <a:custGeom>
            <a:avLst/>
            <a:gdLst>
              <a:gd name="connsiteX0" fmla="*/ 38102 w 4013704"/>
              <a:gd name="connsiteY0" fmla="*/ 0 h 329216"/>
              <a:gd name="connsiteX1" fmla="*/ 3889547 w 4013704"/>
              <a:gd name="connsiteY1" fmla="*/ 0 h 329216"/>
              <a:gd name="connsiteX2" fmla="*/ 4013704 w 4013704"/>
              <a:gd name="connsiteY2" fmla="*/ 164608 h 329216"/>
              <a:gd name="connsiteX3" fmla="*/ 3889547 w 4013704"/>
              <a:gd name="connsiteY3" fmla="*/ 329216 h 329216"/>
              <a:gd name="connsiteX4" fmla="*/ 0 w 4013704"/>
              <a:gd name="connsiteY4" fmla="*/ 329216 h 329216"/>
              <a:gd name="connsiteX5" fmla="*/ 2 w 4013704"/>
              <a:gd name="connsiteY5" fmla="*/ 329214 h 329216"/>
              <a:gd name="connsiteX6" fmla="*/ 38100 w 4013704"/>
              <a:gd name="connsiteY6" fmla="*/ 329214 h 329216"/>
              <a:gd name="connsiteX7" fmla="*/ 162257 w 4013704"/>
              <a:gd name="connsiteY7" fmla="*/ 164606 h 32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3704" h="329216">
                <a:moveTo>
                  <a:pt x="38102" y="0"/>
                </a:moveTo>
                <a:lnTo>
                  <a:pt x="3889547" y="0"/>
                </a:lnTo>
                <a:lnTo>
                  <a:pt x="4013704" y="164608"/>
                </a:lnTo>
                <a:lnTo>
                  <a:pt x="3889547" y="329216"/>
                </a:lnTo>
                <a:lnTo>
                  <a:pt x="0" y="329216"/>
                </a:lnTo>
                <a:lnTo>
                  <a:pt x="2" y="329214"/>
                </a:lnTo>
                <a:lnTo>
                  <a:pt x="38100" y="329214"/>
                </a:lnTo>
                <a:lnTo>
                  <a:pt x="162257" y="164606"/>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nchorCtr="0"/>
          <a:lstStyle/>
          <a:p>
            <a:pPr marL="0" marR="0" lvl="0" indent="0" algn="ctr" defTabSz="799700" rtl="0" eaLnBrk="1" fontAlgn="base"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000028"/>
                </a:solidFill>
                <a:effectLst/>
                <a:uLnTx/>
                <a:uFillTx/>
                <a:latin typeface="Arial"/>
                <a:ea typeface="+mn-ea"/>
                <a:cs typeface="+mn-cs"/>
              </a:rPr>
              <a:t>Customer Value Co-Creation</a:t>
            </a:r>
            <a:endParaRPr kumimoji="0" lang="en-US" sz="1400" b="1" i="0" u="none" strike="noStrike" kern="1200" cap="none" spc="0" normalizeH="0" baseline="0" noProof="0" dirty="0">
              <a:ln>
                <a:noFill/>
              </a:ln>
              <a:solidFill>
                <a:srgbClr val="000028"/>
              </a:solidFill>
              <a:effectLst/>
              <a:uLnTx/>
              <a:uFillTx/>
              <a:latin typeface="Arial"/>
              <a:ea typeface="+mn-ea"/>
              <a:cs typeface="+mn-cs"/>
            </a:endParaRPr>
          </a:p>
        </p:txBody>
      </p:sp>
      <p:sp>
        <p:nvSpPr>
          <p:cNvPr id="90" name="Freihandform: Form 89">
            <a:extLst>
              <a:ext uri="{FF2B5EF4-FFF2-40B4-BE49-F238E27FC236}">
                <a16:creationId xmlns:a16="http://schemas.microsoft.com/office/drawing/2014/main" id="{348A468A-65F8-423B-A893-D561E5C07DBE}"/>
              </a:ext>
            </a:extLst>
          </p:cNvPr>
          <p:cNvSpPr>
            <a:spLocks/>
          </p:cNvSpPr>
          <p:nvPr/>
        </p:nvSpPr>
        <p:spPr>
          <a:xfrm>
            <a:off x="6618299" y="5476977"/>
            <a:ext cx="5172498" cy="329216"/>
          </a:xfrm>
          <a:custGeom>
            <a:avLst/>
            <a:gdLst>
              <a:gd name="connsiteX0" fmla="*/ 0 w 5172498"/>
              <a:gd name="connsiteY0" fmla="*/ 0 h 329216"/>
              <a:gd name="connsiteX1" fmla="*/ 5048341 w 5172498"/>
              <a:gd name="connsiteY1" fmla="*/ 0 h 329216"/>
              <a:gd name="connsiteX2" fmla="*/ 5172498 w 5172498"/>
              <a:gd name="connsiteY2" fmla="*/ 164608 h 329216"/>
              <a:gd name="connsiteX3" fmla="*/ 5048341 w 5172498"/>
              <a:gd name="connsiteY3" fmla="*/ 329216 h 329216"/>
              <a:gd name="connsiteX4" fmla="*/ 0 w 5172498"/>
              <a:gd name="connsiteY4" fmla="*/ 329216 h 329216"/>
              <a:gd name="connsiteX5" fmla="*/ 124157 w 5172498"/>
              <a:gd name="connsiteY5" fmla="*/ 164608 h 32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2498" h="329216">
                <a:moveTo>
                  <a:pt x="0" y="0"/>
                </a:moveTo>
                <a:lnTo>
                  <a:pt x="5048341" y="0"/>
                </a:lnTo>
                <a:lnTo>
                  <a:pt x="5172498" y="164608"/>
                </a:lnTo>
                <a:lnTo>
                  <a:pt x="5048341" y="329216"/>
                </a:lnTo>
                <a:lnTo>
                  <a:pt x="0" y="329216"/>
                </a:lnTo>
                <a:lnTo>
                  <a:pt x="124157" y="164608"/>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nchorCtr="0"/>
          <a:lstStyle/>
          <a:p>
            <a:pPr marL="0" marR="0" lvl="0" indent="0" algn="ctr" defTabSz="799700" rtl="0" eaLnBrk="1" fontAlgn="base" latinLnBrk="0" hangingPunct="1">
              <a:lnSpc>
                <a:spcPct val="90000"/>
              </a:lnSpc>
              <a:spcBef>
                <a:spcPct val="0"/>
              </a:spcBef>
              <a:spcAft>
                <a:spcPct val="35000"/>
              </a:spcAft>
              <a:buClrTx/>
              <a:buSzTx/>
              <a:buFontTx/>
              <a:buNone/>
              <a:tabLst/>
              <a:defRPr/>
            </a:pPr>
            <a:r>
              <a:rPr kumimoji="0" lang="en-US" sz="1400" b="1" i="0" u="none" strike="noStrike" kern="1200" cap="none" spc="0" normalizeH="0" baseline="0" noProof="0">
                <a:ln>
                  <a:noFill/>
                </a:ln>
                <a:solidFill>
                  <a:srgbClr val="000028"/>
                </a:solidFill>
                <a:effectLst/>
                <a:uLnTx/>
                <a:uFillTx/>
                <a:latin typeface="Arial"/>
                <a:ea typeface="+mn-ea"/>
                <a:cs typeface="+mn-cs"/>
              </a:rPr>
              <a:t>Full Implementation &amp; Scale Up</a:t>
            </a:r>
            <a:endParaRPr kumimoji="0" lang="en-US" sz="1400" b="1" i="0" u="none" strike="noStrike" kern="1200" cap="none" spc="0" normalizeH="0" baseline="0" noProof="0" dirty="0">
              <a:ln>
                <a:noFill/>
              </a:ln>
              <a:solidFill>
                <a:srgbClr val="000028"/>
              </a:solidFill>
              <a:effectLst/>
              <a:uLnTx/>
              <a:uFillTx/>
              <a:latin typeface="Arial"/>
              <a:ea typeface="+mn-ea"/>
              <a:cs typeface="+mn-cs"/>
            </a:endParaRPr>
          </a:p>
        </p:txBody>
      </p:sp>
    </p:spTree>
    <p:extLst>
      <p:ext uri="{BB962C8B-B14F-4D97-AF65-F5344CB8AC3E}">
        <p14:creationId xmlns:p14="http://schemas.microsoft.com/office/powerpoint/2010/main" val="2274637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5AB59646-5CC6-443D-9AB5-61F5844AED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6954" name="think-cell Slide" r:id="rId6" imgW="353" imgH="353" progId="TCLayout.ActiveDocument.1">
                  <p:embed/>
                </p:oleObj>
              </mc:Choice>
              <mc:Fallback>
                <p:oleObj name="think-cell Slide" r:id="rId6" imgW="353" imgH="353" progId="TCLayout.ActiveDocument.1">
                  <p:embed/>
                  <p:pic>
                    <p:nvPicPr>
                      <p:cNvPr id="19" name="Object 18" hidden="1">
                        <a:extLst>
                          <a:ext uri="{FF2B5EF4-FFF2-40B4-BE49-F238E27FC236}">
                            <a16:creationId xmlns:a16="http://schemas.microsoft.com/office/drawing/2014/main" id="{5AB59646-5CC6-443D-9AB5-61F5844AED3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A2FC5A00-9F5D-4F3A-824C-F1BC42F9BEC1}"/>
              </a:ext>
            </a:extLst>
          </p:cNvPr>
          <p:cNvSpPr/>
          <p:nvPr>
            <p:custDataLst>
              <p:tags r:id="rId3"/>
            </p:custDataLst>
          </p:nvPr>
        </p:nvSpPr>
        <p:spPr bwMode="auto">
          <a:xfrm>
            <a:off x="0" y="0"/>
            <a:ext cx="158750" cy="158750"/>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2400" b="1" i="0" u="none" strike="noStrike" kern="1200" cap="none" spc="0" normalizeH="0" baseline="0" noProof="0" dirty="0">
              <a:ln>
                <a:noFill/>
              </a:ln>
              <a:solidFill>
                <a:srgbClr val="000000"/>
              </a:solidFill>
              <a:effectLst/>
              <a:uLnTx/>
              <a:uFillTx/>
              <a:latin typeface="Arial" pitchFamily="34" charset="0"/>
              <a:ea typeface="Arial Unicode MS" panose="020B0604020202020204"/>
              <a:cs typeface="Arial" panose="020B0604020202020204" pitchFamily="34" charset="0"/>
              <a:sym typeface="Arial" panose="020B0604020202020204" pitchFamily="34" charset="0"/>
            </a:endParaRPr>
          </a:p>
        </p:txBody>
      </p:sp>
      <p:pic>
        <p:nvPicPr>
          <p:cNvPr id="18" name="Bildplatzhalter 7">
            <a:extLst>
              <a:ext uri="{FF2B5EF4-FFF2-40B4-BE49-F238E27FC236}">
                <a16:creationId xmlns:a16="http://schemas.microsoft.com/office/drawing/2014/main" id="{630775C0-2598-47C3-A595-47EB8DB84858}"/>
              </a:ext>
            </a:extLst>
          </p:cNvPr>
          <p:cNvPicPr>
            <a:picLocks noChangeAspect="1"/>
          </p:cNvPicPr>
          <p:nvPr/>
        </p:nvPicPr>
        <p:blipFill>
          <a:blip r:embed="rId8" cstate="screen">
            <a:extLst>
              <a:ext uri="{28A0092B-C50C-407E-A947-70E740481C1C}">
                <a14:useLocalDpi xmlns:a14="http://schemas.microsoft.com/office/drawing/2010/main" val="0"/>
              </a:ext>
            </a:extLst>
          </a:blip>
          <a:srcRect/>
          <a:stretch>
            <a:fillRect/>
          </a:stretch>
        </p:blipFill>
        <p:spPr>
          <a:xfrm>
            <a:off x="775" y="0"/>
            <a:ext cx="12196800" cy="6858000"/>
          </a:xfrm>
          <a:prstGeom prst="rect">
            <a:avLst/>
          </a:prstGeom>
        </p:spPr>
      </p:pic>
      <p:sp>
        <p:nvSpPr>
          <p:cNvPr id="30" name="Rechteck 208">
            <a:extLst>
              <a:ext uri="{FF2B5EF4-FFF2-40B4-BE49-F238E27FC236}">
                <a16:creationId xmlns:a16="http://schemas.microsoft.com/office/drawing/2014/main" id="{A4963A83-71AA-4C64-A8B4-BAD7B450352C}"/>
              </a:ext>
            </a:extLst>
          </p:cNvPr>
          <p:cNvSpPr/>
          <p:nvPr/>
        </p:nvSpPr>
        <p:spPr bwMode="auto">
          <a:xfrm>
            <a:off x="1550" y="0"/>
            <a:ext cx="12196800" cy="6858000"/>
          </a:xfrm>
          <a:prstGeom prst="rect">
            <a:avLst/>
          </a:prstGeom>
          <a:solidFill>
            <a:srgbClr val="004669">
              <a:alpha val="60000"/>
            </a:srgbClr>
          </a:solidFill>
          <a:ln>
            <a:noFill/>
          </a:ln>
          <a:effectLst/>
        </p:spPr>
        <p:txBody>
          <a:bodyPr rot="0" spcFirstLastPara="0" vertOverflow="overflow" horzOverflow="overflow" vert="horz" wrap="square" lIns="108000" tIns="54000" rIns="108000" bIns="54000" numCol="1" spcCol="72000" rtlCol="0" fromWordArt="0" anchor="ctr" anchorCtr="0" forceAA="0" compatLnSpc="1">
            <a:prstTxWarp prst="textNoShape">
              <a:avLst/>
            </a:prstTxWarp>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
        <p:nvSpPr>
          <p:cNvPr id="2" name="Titel 1">
            <a:extLst>
              <a:ext uri="{FF2B5EF4-FFF2-40B4-BE49-F238E27FC236}">
                <a16:creationId xmlns:a16="http://schemas.microsoft.com/office/drawing/2014/main" id="{32272554-E1C0-4747-9C76-8FC7F8046B3E}"/>
              </a:ext>
            </a:extLst>
          </p:cNvPr>
          <p:cNvSpPr>
            <a:spLocks noGrp="1"/>
          </p:cNvSpPr>
          <p:nvPr>
            <p:ph type="title"/>
          </p:nvPr>
        </p:nvSpPr>
        <p:spPr>
          <a:xfrm>
            <a:off x="100562" y="79483"/>
            <a:ext cx="12096237" cy="1980250"/>
          </a:xfrm>
        </p:spPr>
        <p:txBody>
          <a:bodyPr tIns="468000" rIns="3168000"/>
          <a:lstStyle/>
          <a:p>
            <a:r>
              <a:rPr lang="en-US" sz="2400" dirty="0">
                <a:solidFill>
                  <a:schemeClr val="bg1"/>
                </a:solidFill>
                <a:latin typeface="Siemens Sans" pitchFamily="2" charset="0"/>
                <a:ea typeface="Arial Unicode MS" panose="020B0604020202020204" pitchFamily="34" charset="-128"/>
              </a:rPr>
              <a:t>Today’s Drinking Water business is facing many challenges</a:t>
            </a:r>
            <a:endParaRPr lang="de-DE" dirty="0">
              <a:solidFill>
                <a:schemeClr val="bg1"/>
              </a:solidFill>
              <a:latin typeface="Siemens Sans" pitchFamily="2" charset="0"/>
            </a:endParaRPr>
          </a:p>
        </p:txBody>
      </p:sp>
      <p:sp>
        <p:nvSpPr>
          <p:cNvPr id="3" name="Textfeld 2">
            <a:extLst>
              <a:ext uri="{FF2B5EF4-FFF2-40B4-BE49-F238E27FC236}">
                <a16:creationId xmlns:a16="http://schemas.microsoft.com/office/drawing/2014/main" id="{86511DB2-E14A-418D-83E3-3FA8D96DBFF4}"/>
              </a:ext>
            </a:extLst>
          </p:cNvPr>
          <p:cNvSpPr txBox="1">
            <a:spLocks noChangeAspect="1"/>
          </p:cNvSpPr>
          <p:nvPr/>
        </p:nvSpPr>
        <p:spPr>
          <a:xfrm>
            <a:off x="4339782" y="5041707"/>
            <a:ext cx="1620000" cy="162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4669"/>
                </a:solidFill>
                <a:effectLst/>
                <a:uLnTx/>
                <a:uFillTx/>
                <a:latin typeface="Arial" pitchFamily="34" charset="0"/>
                <a:ea typeface="Arial Unicode MS" panose="020B0604020202020204" pitchFamily="34" charset="-128"/>
                <a:cs typeface="Arial Unicode MS" panose="020B0604020202020204" pitchFamily="34" charset="-128"/>
              </a:rPr>
              <a:t>Penalties</a:t>
            </a:r>
          </a:p>
        </p:txBody>
      </p:sp>
      <p:sp>
        <p:nvSpPr>
          <p:cNvPr id="4" name="Textfeld 3">
            <a:extLst>
              <a:ext uri="{FF2B5EF4-FFF2-40B4-BE49-F238E27FC236}">
                <a16:creationId xmlns:a16="http://schemas.microsoft.com/office/drawing/2014/main" id="{F9414213-D31D-4EA1-942A-47EE17897C63}"/>
              </a:ext>
            </a:extLst>
          </p:cNvPr>
          <p:cNvSpPr txBox="1">
            <a:spLocks noChangeAspect="1"/>
          </p:cNvSpPr>
          <p:nvPr/>
        </p:nvSpPr>
        <p:spPr>
          <a:xfrm>
            <a:off x="2296779" y="1186940"/>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Water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quality</a:t>
            </a:r>
          </a:p>
        </p:txBody>
      </p:sp>
      <p:sp>
        <p:nvSpPr>
          <p:cNvPr id="5" name="Textfeld 4">
            <a:extLst>
              <a:ext uri="{FF2B5EF4-FFF2-40B4-BE49-F238E27FC236}">
                <a16:creationId xmlns:a16="http://schemas.microsoft.com/office/drawing/2014/main" id="{F7F0D573-2CC1-4765-8523-84C724D792AC}"/>
              </a:ext>
            </a:extLst>
          </p:cNvPr>
          <p:cNvSpPr txBox="1">
            <a:spLocks noChangeAspect="1"/>
          </p:cNvSpPr>
          <p:nvPr/>
        </p:nvSpPr>
        <p:spPr>
          <a:xfrm>
            <a:off x="1708233" y="3782042"/>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Cyber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security</a:t>
            </a:r>
          </a:p>
        </p:txBody>
      </p:sp>
      <p:sp>
        <p:nvSpPr>
          <p:cNvPr id="6" name="Textfeld 5">
            <a:extLst>
              <a:ext uri="{FF2B5EF4-FFF2-40B4-BE49-F238E27FC236}">
                <a16:creationId xmlns:a16="http://schemas.microsoft.com/office/drawing/2014/main" id="{D0FA6283-E271-44EB-8D09-06B040294984}"/>
              </a:ext>
            </a:extLst>
          </p:cNvPr>
          <p:cNvSpPr txBox="1">
            <a:spLocks noChangeAspect="1"/>
          </p:cNvSpPr>
          <p:nvPr/>
        </p:nvSpPr>
        <p:spPr>
          <a:xfrm>
            <a:off x="2027789" y="2384413"/>
            <a:ext cx="1544907" cy="1544907"/>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Critical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Equipment</a:t>
            </a:r>
          </a:p>
        </p:txBody>
      </p:sp>
      <p:sp>
        <p:nvSpPr>
          <p:cNvPr id="7" name="Textfeld 6">
            <a:extLst>
              <a:ext uri="{FF2B5EF4-FFF2-40B4-BE49-F238E27FC236}">
                <a16:creationId xmlns:a16="http://schemas.microsoft.com/office/drawing/2014/main" id="{F8C66256-4A2D-4C4A-B6D6-F1B9CA998267}"/>
              </a:ext>
            </a:extLst>
          </p:cNvPr>
          <p:cNvSpPr txBox="1">
            <a:spLocks noChangeAspect="1"/>
          </p:cNvSpPr>
          <p:nvPr/>
        </p:nvSpPr>
        <p:spPr>
          <a:xfrm>
            <a:off x="5773124" y="4732502"/>
            <a:ext cx="2004135" cy="2004135"/>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4669"/>
                </a:solidFill>
                <a:effectLst/>
                <a:uLnTx/>
                <a:uFillTx/>
                <a:latin typeface="Arial" pitchFamily="34" charset="0"/>
                <a:ea typeface="Arial Unicode MS" panose="020B0604020202020204" pitchFamily="34" charset="-128"/>
                <a:cs typeface="Arial Unicode MS" panose="020B0604020202020204" pitchFamily="34" charset="-128"/>
              </a:rPr>
              <a:t>Legislation</a:t>
            </a:r>
          </a:p>
        </p:txBody>
      </p:sp>
      <p:sp>
        <p:nvSpPr>
          <p:cNvPr id="8" name="Textfeld 7">
            <a:extLst>
              <a:ext uri="{FF2B5EF4-FFF2-40B4-BE49-F238E27FC236}">
                <a16:creationId xmlns:a16="http://schemas.microsoft.com/office/drawing/2014/main" id="{C4BF4D4F-7A39-4300-AC19-676E76DA4C13}"/>
              </a:ext>
            </a:extLst>
          </p:cNvPr>
          <p:cNvSpPr txBox="1">
            <a:spLocks noChangeAspect="1"/>
          </p:cNvSpPr>
          <p:nvPr/>
        </p:nvSpPr>
        <p:spPr>
          <a:xfrm>
            <a:off x="223073" y="2399392"/>
            <a:ext cx="2001018" cy="2001018"/>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Security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of supply</a:t>
            </a:r>
          </a:p>
        </p:txBody>
      </p:sp>
      <p:sp>
        <p:nvSpPr>
          <p:cNvPr id="9" name="Textfeld 8">
            <a:extLst>
              <a:ext uri="{FF2B5EF4-FFF2-40B4-BE49-F238E27FC236}">
                <a16:creationId xmlns:a16="http://schemas.microsoft.com/office/drawing/2014/main" id="{99560D26-13CE-4D43-ACAD-F8A59A02F131}"/>
              </a:ext>
            </a:extLst>
          </p:cNvPr>
          <p:cNvSpPr txBox="1">
            <a:spLocks noChangeAspect="1"/>
          </p:cNvSpPr>
          <p:nvPr/>
        </p:nvSpPr>
        <p:spPr>
          <a:xfrm>
            <a:off x="1113163" y="1330187"/>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Water loss</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 / NRW</a:t>
            </a:r>
          </a:p>
        </p:txBody>
      </p:sp>
      <p:sp>
        <p:nvSpPr>
          <p:cNvPr id="11" name="Textfeld 10">
            <a:extLst>
              <a:ext uri="{FF2B5EF4-FFF2-40B4-BE49-F238E27FC236}">
                <a16:creationId xmlns:a16="http://schemas.microsoft.com/office/drawing/2014/main" id="{D075E086-3737-4346-98FD-DEF62079C970}"/>
              </a:ext>
            </a:extLst>
          </p:cNvPr>
          <p:cNvSpPr txBox="1">
            <a:spLocks noChangeAspect="1"/>
          </p:cNvSpPr>
          <p:nvPr/>
        </p:nvSpPr>
        <p:spPr>
          <a:xfrm>
            <a:off x="3967317" y="1576614"/>
            <a:ext cx="2050829" cy="2050829"/>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Cost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Efficiency</a:t>
            </a:r>
          </a:p>
        </p:txBody>
      </p:sp>
      <p:sp>
        <p:nvSpPr>
          <p:cNvPr id="12" name="Textfeld 11">
            <a:extLst>
              <a:ext uri="{FF2B5EF4-FFF2-40B4-BE49-F238E27FC236}">
                <a16:creationId xmlns:a16="http://schemas.microsoft.com/office/drawing/2014/main" id="{B7B55546-8C81-4497-8131-565F8FA2E095}"/>
              </a:ext>
            </a:extLst>
          </p:cNvPr>
          <p:cNvSpPr txBox="1">
            <a:spLocks noChangeAspect="1"/>
          </p:cNvSpPr>
          <p:nvPr/>
        </p:nvSpPr>
        <p:spPr>
          <a:xfrm>
            <a:off x="7719209" y="5133298"/>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4669"/>
                </a:solidFill>
                <a:effectLst/>
                <a:uLnTx/>
                <a:uFillTx/>
                <a:latin typeface="Arial" pitchFamily="34" charset="0"/>
                <a:ea typeface="Arial Unicode MS" panose="020B0604020202020204" pitchFamily="34" charset="-128"/>
                <a:cs typeface="Arial Unicode MS" panose="020B0604020202020204" pitchFamily="34" charset="-128"/>
              </a:rPr>
              <a:t>Bad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4669"/>
                </a:solidFill>
                <a:effectLst/>
                <a:uLnTx/>
                <a:uFillTx/>
                <a:latin typeface="Arial" pitchFamily="34" charset="0"/>
                <a:ea typeface="Arial Unicode MS" panose="020B0604020202020204" pitchFamily="34" charset="-128"/>
                <a:cs typeface="Arial Unicode MS" panose="020B0604020202020204" pitchFamily="34" charset="-128"/>
              </a:rPr>
              <a:t>publicity</a:t>
            </a:r>
          </a:p>
        </p:txBody>
      </p:sp>
      <p:sp>
        <p:nvSpPr>
          <p:cNvPr id="13" name="Textfeld 12">
            <a:extLst>
              <a:ext uri="{FF2B5EF4-FFF2-40B4-BE49-F238E27FC236}">
                <a16:creationId xmlns:a16="http://schemas.microsoft.com/office/drawing/2014/main" id="{9F0C2CD6-03B8-40B2-9A98-24F1E6BC851C}"/>
              </a:ext>
            </a:extLst>
          </p:cNvPr>
          <p:cNvSpPr txBox="1">
            <a:spLocks noChangeAspect="1"/>
          </p:cNvSpPr>
          <p:nvPr/>
        </p:nvSpPr>
        <p:spPr>
          <a:xfrm>
            <a:off x="3491469" y="3297198"/>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err="1">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Standardi</a:t>
            </a:r>
            <a:r>
              <a:rPr kumimoji="0" lang="en-US" sz="18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err="1">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zation</a:t>
            </a:r>
            <a:endParaRPr kumimoji="0" lang="en-US" sz="18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endParaRPr>
          </a:p>
        </p:txBody>
      </p:sp>
      <p:sp>
        <p:nvSpPr>
          <p:cNvPr id="14" name="Textfeld 13">
            <a:extLst>
              <a:ext uri="{FF2B5EF4-FFF2-40B4-BE49-F238E27FC236}">
                <a16:creationId xmlns:a16="http://schemas.microsoft.com/office/drawing/2014/main" id="{4A050E4B-7678-4C4F-8820-D724FD4CF905}"/>
              </a:ext>
            </a:extLst>
          </p:cNvPr>
          <p:cNvSpPr txBox="1">
            <a:spLocks noChangeAspect="1"/>
          </p:cNvSpPr>
          <p:nvPr/>
        </p:nvSpPr>
        <p:spPr>
          <a:xfrm>
            <a:off x="514842" y="4344389"/>
            <a:ext cx="1479581" cy="1479581"/>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Maintenance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C00000"/>
                </a:solidFill>
                <a:effectLst/>
                <a:uLnTx/>
                <a:uFillTx/>
                <a:latin typeface="Arial" pitchFamily="34" charset="0"/>
                <a:ea typeface="Arial Unicode MS" panose="020B0604020202020204" pitchFamily="34" charset="-128"/>
                <a:cs typeface="Arial Unicode MS" panose="020B0604020202020204" pitchFamily="34" charset="-128"/>
              </a:rPr>
              <a:t>&amp; Upgrades</a:t>
            </a:r>
          </a:p>
        </p:txBody>
      </p:sp>
      <p:sp>
        <p:nvSpPr>
          <p:cNvPr id="15" name="Textfeld 14">
            <a:extLst>
              <a:ext uri="{FF2B5EF4-FFF2-40B4-BE49-F238E27FC236}">
                <a16:creationId xmlns:a16="http://schemas.microsoft.com/office/drawing/2014/main" id="{0B17FF12-9CAF-4969-9B75-1AC256534703}"/>
              </a:ext>
            </a:extLst>
          </p:cNvPr>
          <p:cNvSpPr txBox="1">
            <a:spLocks noChangeAspect="1"/>
          </p:cNvSpPr>
          <p:nvPr/>
        </p:nvSpPr>
        <p:spPr>
          <a:xfrm>
            <a:off x="6458570" y="2305356"/>
            <a:ext cx="1980251" cy="1980251"/>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Arial" pitchFamily="34" charset="0"/>
                <a:ea typeface="Arial Unicode MS" panose="020B0604020202020204" pitchFamily="34" charset="-128"/>
                <a:cs typeface="Arial Unicode MS" panose="020B0604020202020204" pitchFamily="34" charset="-128"/>
              </a:rPr>
              <a:t>Carbon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B050"/>
                </a:solidFill>
                <a:effectLst/>
                <a:uLnTx/>
                <a:uFillTx/>
                <a:latin typeface="Arial" pitchFamily="34" charset="0"/>
                <a:ea typeface="Arial Unicode MS" panose="020B0604020202020204" pitchFamily="34" charset="-128"/>
                <a:cs typeface="Arial Unicode MS" panose="020B0604020202020204" pitchFamily="34" charset="-128"/>
              </a:rPr>
              <a:t>footprint</a:t>
            </a:r>
          </a:p>
        </p:txBody>
      </p:sp>
      <p:sp>
        <p:nvSpPr>
          <p:cNvPr id="16" name="Textfeld 15">
            <a:extLst>
              <a:ext uri="{FF2B5EF4-FFF2-40B4-BE49-F238E27FC236}">
                <a16:creationId xmlns:a16="http://schemas.microsoft.com/office/drawing/2014/main" id="{F218CC88-E63E-42B9-B89C-5D48F65FA1FB}"/>
              </a:ext>
            </a:extLst>
          </p:cNvPr>
          <p:cNvSpPr txBox="1">
            <a:spLocks noChangeAspect="1"/>
          </p:cNvSpPr>
          <p:nvPr/>
        </p:nvSpPr>
        <p:spPr>
          <a:xfrm>
            <a:off x="5437673" y="1120292"/>
            <a:ext cx="1544906" cy="1544906"/>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Variable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Electricity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8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tariffs</a:t>
            </a:r>
          </a:p>
        </p:txBody>
      </p:sp>
      <p:grpSp>
        <p:nvGrpSpPr>
          <p:cNvPr id="21" name="Graphic 59">
            <a:extLst>
              <a:ext uri="{FF2B5EF4-FFF2-40B4-BE49-F238E27FC236}">
                <a16:creationId xmlns:a16="http://schemas.microsoft.com/office/drawing/2014/main" id="{9CAECE31-2AAC-4C6C-BA6D-73E1C62312E1}"/>
              </a:ext>
            </a:extLst>
          </p:cNvPr>
          <p:cNvGrpSpPr/>
          <p:nvPr/>
        </p:nvGrpSpPr>
        <p:grpSpPr>
          <a:xfrm>
            <a:off x="9781403" y="552320"/>
            <a:ext cx="1481839" cy="234163"/>
            <a:chOff x="9781403" y="552320"/>
            <a:chExt cx="1481839" cy="234163"/>
          </a:xfrm>
          <a:solidFill>
            <a:srgbClr val="FFFFFF"/>
          </a:solidFill>
        </p:grpSpPr>
        <p:sp>
          <p:nvSpPr>
            <p:cNvPr id="22" name="Freihandform: Form 11">
              <a:extLst>
                <a:ext uri="{FF2B5EF4-FFF2-40B4-BE49-F238E27FC236}">
                  <a16:creationId xmlns:a16="http://schemas.microsoft.com/office/drawing/2014/main" id="{BCAAE3CF-2859-4D87-A53C-E989356FA059}"/>
                </a:ext>
              </a:extLst>
            </p:cNvPr>
            <p:cNvSpPr/>
            <p:nvPr/>
          </p:nvSpPr>
          <p:spPr>
            <a:xfrm>
              <a:off x="9781403" y="552320"/>
              <a:ext cx="173430" cy="234163"/>
            </a:xfrm>
            <a:custGeom>
              <a:avLst/>
              <a:gdLst>
                <a:gd name="connsiteX0" fmla="*/ 4575 w 173430"/>
                <a:gd name="connsiteY0" fmla="*/ 225949 h 234163"/>
                <a:gd name="connsiteX1" fmla="*/ 4575 w 173430"/>
                <a:gd name="connsiteY1" fmla="*/ 181380 h 234163"/>
                <a:gd name="connsiteX2" fmla="*/ 71915 w 173430"/>
                <a:gd name="connsiteY2" fmla="*/ 193357 h 234163"/>
                <a:gd name="connsiteX3" fmla="*/ 112357 w 173430"/>
                <a:gd name="connsiteY3" fmla="*/ 171988 h 234163"/>
                <a:gd name="connsiteX4" fmla="*/ 106462 w 173430"/>
                <a:gd name="connsiteY4" fmla="*/ 158604 h 234163"/>
                <a:gd name="connsiteX5" fmla="*/ 75587 w 173430"/>
                <a:gd name="connsiteY5" fmla="*/ 142653 h 234163"/>
                <a:gd name="connsiteX6" fmla="*/ 17513 w 173430"/>
                <a:gd name="connsiteY6" fmla="*/ 111415 h 234163"/>
                <a:gd name="connsiteX7" fmla="*/ 0 w 173430"/>
                <a:gd name="connsiteY7" fmla="*/ 68377 h 234163"/>
                <a:gd name="connsiteX8" fmla="*/ 25505 w 173430"/>
                <a:gd name="connsiteY8" fmla="*/ 17371 h 234163"/>
                <a:gd name="connsiteX9" fmla="*/ 91212 w 173430"/>
                <a:gd name="connsiteY9" fmla="*/ 0 h 234163"/>
                <a:gd name="connsiteX10" fmla="*/ 155796 w 173430"/>
                <a:gd name="connsiteY10" fmla="*/ 8223 h 234163"/>
                <a:gd name="connsiteX11" fmla="*/ 155796 w 173430"/>
                <a:gd name="connsiteY11" fmla="*/ 51097 h 234163"/>
                <a:gd name="connsiteX12" fmla="*/ 97407 w 173430"/>
                <a:gd name="connsiteY12" fmla="*/ 38547 h 234163"/>
                <a:gd name="connsiteX13" fmla="*/ 59441 w 173430"/>
                <a:gd name="connsiteY13" fmla="*/ 59428 h 234163"/>
                <a:gd name="connsiteX14" fmla="*/ 67094 w 173430"/>
                <a:gd name="connsiteY14" fmla="*/ 72174 h 234163"/>
                <a:gd name="connsiteX15" fmla="*/ 102162 w 173430"/>
                <a:gd name="connsiteY15" fmla="*/ 89076 h 234163"/>
                <a:gd name="connsiteX16" fmla="*/ 157164 w 173430"/>
                <a:gd name="connsiteY16" fmla="*/ 120979 h 234163"/>
                <a:gd name="connsiteX17" fmla="*/ 173431 w 173430"/>
                <a:gd name="connsiteY17" fmla="*/ 162596 h 234163"/>
                <a:gd name="connsiteX18" fmla="*/ 141540 w 173430"/>
                <a:gd name="connsiteY18" fmla="*/ 218551 h 234163"/>
                <a:gd name="connsiteX19" fmla="*/ 74563 w 173430"/>
                <a:gd name="connsiteY19" fmla="*/ 234163 h 234163"/>
                <a:gd name="connsiteX20" fmla="*/ 4575 w 173430"/>
                <a:gd name="connsiteY20" fmla="*/ 225949 h 234163"/>
                <a:gd name="connsiteX21" fmla="*/ 4575 w 173430"/>
                <a:gd name="connsiteY21" fmla="*/ 225949 h 23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430" h="234163">
                  <a:moveTo>
                    <a:pt x="4575" y="225949"/>
                  </a:moveTo>
                  <a:lnTo>
                    <a:pt x="4575" y="181380"/>
                  </a:lnTo>
                  <a:cubicBezTo>
                    <a:pt x="29942" y="189363"/>
                    <a:pt x="52389" y="193357"/>
                    <a:pt x="71915" y="193357"/>
                  </a:cubicBezTo>
                  <a:cubicBezTo>
                    <a:pt x="98874" y="193357"/>
                    <a:pt x="112357" y="186231"/>
                    <a:pt x="112357" y="171988"/>
                  </a:cubicBezTo>
                  <a:cubicBezTo>
                    <a:pt x="112357" y="166679"/>
                    <a:pt x="110395" y="162218"/>
                    <a:pt x="106462" y="158604"/>
                  </a:cubicBezTo>
                  <a:cubicBezTo>
                    <a:pt x="102440" y="154773"/>
                    <a:pt x="92141" y="149459"/>
                    <a:pt x="75587" y="142653"/>
                  </a:cubicBezTo>
                  <a:cubicBezTo>
                    <a:pt x="45887" y="130442"/>
                    <a:pt x="26523" y="120027"/>
                    <a:pt x="17513" y="111415"/>
                  </a:cubicBezTo>
                  <a:cubicBezTo>
                    <a:pt x="5838" y="100045"/>
                    <a:pt x="0" y="85704"/>
                    <a:pt x="0" y="68377"/>
                  </a:cubicBezTo>
                  <a:cubicBezTo>
                    <a:pt x="0" y="46064"/>
                    <a:pt x="8506" y="29056"/>
                    <a:pt x="25505" y="17371"/>
                  </a:cubicBezTo>
                  <a:cubicBezTo>
                    <a:pt x="42317" y="5784"/>
                    <a:pt x="64208" y="0"/>
                    <a:pt x="91212" y="0"/>
                  </a:cubicBezTo>
                  <a:cubicBezTo>
                    <a:pt x="106091" y="0"/>
                    <a:pt x="127626" y="2739"/>
                    <a:pt x="155796" y="8223"/>
                  </a:cubicBezTo>
                  <a:lnTo>
                    <a:pt x="155796" y="51097"/>
                  </a:lnTo>
                  <a:cubicBezTo>
                    <a:pt x="134838" y="42725"/>
                    <a:pt x="115383" y="38547"/>
                    <a:pt x="97407" y="38547"/>
                  </a:cubicBezTo>
                  <a:cubicBezTo>
                    <a:pt x="72096" y="38547"/>
                    <a:pt x="59441" y="45498"/>
                    <a:pt x="59441" y="59428"/>
                  </a:cubicBezTo>
                  <a:cubicBezTo>
                    <a:pt x="59441" y="64636"/>
                    <a:pt x="61990" y="68882"/>
                    <a:pt x="67094" y="72174"/>
                  </a:cubicBezTo>
                  <a:cubicBezTo>
                    <a:pt x="71338" y="74838"/>
                    <a:pt x="83037" y="80466"/>
                    <a:pt x="102162" y="89076"/>
                  </a:cubicBezTo>
                  <a:cubicBezTo>
                    <a:pt x="129699" y="101306"/>
                    <a:pt x="148029" y="111936"/>
                    <a:pt x="157164" y="120979"/>
                  </a:cubicBezTo>
                  <a:cubicBezTo>
                    <a:pt x="168003" y="131706"/>
                    <a:pt x="173431" y="145584"/>
                    <a:pt x="173431" y="162596"/>
                  </a:cubicBezTo>
                  <a:cubicBezTo>
                    <a:pt x="173431" y="187047"/>
                    <a:pt x="162797" y="205701"/>
                    <a:pt x="141540" y="218551"/>
                  </a:cubicBezTo>
                  <a:cubicBezTo>
                    <a:pt x="124321" y="228973"/>
                    <a:pt x="101989" y="234163"/>
                    <a:pt x="74563" y="234163"/>
                  </a:cubicBezTo>
                  <a:cubicBezTo>
                    <a:pt x="51406" y="234159"/>
                    <a:pt x="28071" y="231433"/>
                    <a:pt x="4575" y="225949"/>
                  </a:cubicBezTo>
                  <a:lnTo>
                    <a:pt x="4575" y="22594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3" name="Freihandform: Form 12">
              <a:extLst>
                <a:ext uri="{FF2B5EF4-FFF2-40B4-BE49-F238E27FC236}">
                  <a16:creationId xmlns:a16="http://schemas.microsoft.com/office/drawing/2014/main" id="{188205F2-710E-4674-A450-9DD7F562A543}"/>
                </a:ext>
              </a:extLst>
            </p:cNvPr>
            <p:cNvSpPr/>
            <p:nvPr/>
          </p:nvSpPr>
          <p:spPr>
            <a:xfrm>
              <a:off x="9990437" y="556241"/>
              <a:ext cx="63037" cy="225678"/>
            </a:xfrm>
            <a:custGeom>
              <a:avLst/>
              <a:gdLst>
                <a:gd name="connsiteX0" fmla="*/ 0 w 63037"/>
                <a:gd name="connsiteY0" fmla="*/ 0 h 225678"/>
                <a:gd name="connsiteX1" fmla="*/ 0 w 63037"/>
                <a:gd name="connsiteY1" fmla="*/ 0 h 225678"/>
                <a:gd name="connsiteX2" fmla="*/ 63037 w 63037"/>
                <a:gd name="connsiteY2" fmla="*/ 0 h 225678"/>
                <a:gd name="connsiteX3" fmla="*/ 63037 w 63037"/>
                <a:gd name="connsiteY3" fmla="*/ 225679 h 225678"/>
                <a:gd name="connsiteX4" fmla="*/ 0 w 63037"/>
                <a:gd name="connsiteY4" fmla="*/ 225679 h 2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37" h="225678">
                  <a:moveTo>
                    <a:pt x="0" y="0"/>
                  </a:moveTo>
                  <a:lnTo>
                    <a:pt x="0" y="0"/>
                  </a:lnTo>
                  <a:lnTo>
                    <a:pt x="63037" y="0"/>
                  </a:lnTo>
                  <a:lnTo>
                    <a:pt x="63037"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4" name="Freihandform: Form 13">
              <a:extLst>
                <a:ext uri="{FF2B5EF4-FFF2-40B4-BE49-F238E27FC236}">
                  <a16:creationId xmlns:a16="http://schemas.microsoft.com/office/drawing/2014/main" id="{6D1972D9-8899-4321-BAED-D61C764C4882}"/>
                </a:ext>
              </a:extLst>
            </p:cNvPr>
            <p:cNvSpPr/>
            <p:nvPr/>
          </p:nvSpPr>
          <p:spPr>
            <a:xfrm>
              <a:off x="10111287" y="556241"/>
              <a:ext cx="164274" cy="225678"/>
            </a:xfrm>
            <a:custGeom>
              <a:avLst/>
              <a:gdLst>
                <a:gd name="connsiteX0" fmla="*/ 0 w 164274"/>
                <a:gd name="connsiteY0" fmla="*/ 225679 h 225678"/>
                <a:gd name="connsiteX1" fmla="*/ 0 w 164274"/>
                <a:gd name="connsiteY1" fmla="*/ 0 h 225678"/>
                <a:gd name="connsiteX2" fmla="*/ 161674 w 164274"/>
                <a:gd name="connsiteY2" fmla="*/ 0 h 225678"/>
                <a:gd name="connsiteX3" fmla="*/ 161674 w 164274"/>
                <a:gd name="connsiteY3" fmla="*/ 40820 h 225678"/>
                <a:gd name="connsiteX4" fmla="*/ 60754 w 164274"/>
                <a:gd name="connsiteY4" fmla="*/ 40820 h 225678"/>
                <a:gd name="connsiteX5" fmla="*/ 60754 w 164274"/>
                <a:gd name="connsiteY5" fmla="*/ 91778 h 225678"/>
                <a:gd name="connsiteX6" fmla="*/ 148602 w 164274"/>
                <a:gd name="connsiteY6" fmla="*/ 91778 h 225678"/>
                <a:gd name="connsiteX7" fmla="*/ 148602 w 164274"/>
                <a:gd name="connsiteY7" fmla="*/ 129010 h 225678"/>
                <a:gd name="connsiteX8" fmla="*/ 60754 w 164274"/>
                <a:gd name="connsiteY8" fmla="*/ 129010 h 225678"/>
                <a:gd name="connsiteX9" fmla="*/ 60754 w 164274"/>
                <a:gd name="connsiteY9" fmla="*/ 182568 h 225678"/>
                <a:gd name="connsiteX10" fmla="*/ 164274 w 164274"/>
                <a:gd name="connsiteY10" fmla="*/ 182568 h 225678"/>
                <a:gd name="connsiteX11" fmla="*/ 164274 w 164274"/>
                <a:gd name="connsiteY11" fmla="*/ 225679 h 225678"/>
                <a:gd name="connsiteX12" fmla="*/ 0 w 164274"/>
                <a:gd name="connsiteY12"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274" h="225678">
                  <a:moveTo>
                    <a:pt x="0" y="225679"/>
                  </a:moveTo>
                  <a:lnTo>
                    <a:pt x="0" y="0"/>
                  </a:lnTo>
                  <a:lnTo>
                    <a:pt x="161674" y="0"/>
                  </a:lnTo>
                  <a:lnTo>
                    <a:pt x="161674" y="40820"/>
                  </a:lnTo>
                  <a:lnTo>
                    <a:pt x="60754" y="40820"/>
                  </a:lnTo>
                  <a:lnTo>
                    <a:pt x="60754" y="91778"/>
                  </a:lnTo>
                  <a:lnTo>
                    <a:pt x="148602" y="91778"/>
                  </a:lnTo>
                  <a:lnTo>
                    <a:pt x="148602" y="129010"/>
                  </a:lnTo>
                  <a:lnTo>
                    <a:pt x="60754" y="129010"/>
                  </a:lnTo>
                  <a:lnTo>
                    <a:pt x="60754" y="182568"/>
                  </a:lnTo>
                  <a:lnTo>
                    <a:pt x="164274" y="182568"/>
                  </a:lnTo>
                  <a:lnTo>
                    <a:pt x="164274"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5" name="Freihandform: Form 14">
              <a:extLst>
                <a:ext uri="{FF2B5EF4-FFF2-40B4-BE49-F238E27FC236}">
                  <a16:creationId xmlns:a16="http://schemas.microsoft.com/office/drawing/2014/main" id="{C10C8BED-25E0-4607-9E5D-ACBFAF66C7A7}"/>
                </a:ext>
              </a:extLst>
            </p:cNvPr>
            <p:cNvSpPr/>
            <p:nvPr/>
          </p:nvSpPr>
          <p:spPr>
            <a:xfrm>
              <a:off x="10316714" y="556241"/>
              <a:ext cx="274352" cy="227970"/>
            </a:xfrm>
            <a:custGeom>
              <a:avLst/>
              <a:gdLst>
                <a:gd name="connsiteX0" fmla="*/ 0 w 274352"/>
                <a:gd name="connsiteY0" fmla="*/ 225679 h 227970"/>
                <a:gd name="connsiteX1" fmla="*/ 0 w 274352"/>
                <a:gd name="connsiteY1" fmla="*/ 0 h 227970"/>
                <a:gd name="connsiteX2" fmla="*/ 81732 w 274352"/>
                <a:gd name="connsiteY2" fmla="*/ 0 h 227970"/>
                <a:gd name="connsiteX3" fmla="*/ 138514 w 274352"/>
                <a:gd name="connsiteY3" fmla="*/ 144199 h 227970"/>
                <a:gd name="connsiteX4" fmla="*/ 196720 w 274352"/>
                <a:gd name="connsiteY4" fmla="*/ 0 h 227970"/>
                <a:gd name="connsiteX5" fmla="*/ 274352 w 274352"/>
                <a:gd name="connsiteY5" fmla="*/ 0 h 227970"/>
                <a:gd name="connsiteX6" fmla="*/ 274352 w 274352"/>
                <a:gd name="connsiteY6" fmla="*/ 225679 h 227970"/>
                <a:gd name="connsiteX7" fmla="*/ 214583 w 274352"/>
                <a:gd name="connsiteY7" fmla="*/ 225679 h 227970"/>
                <a:gd name="connsiteX8" fmla="*/ 214583 w 274352"/>
                <a:gd name="connsiteY8" fmla="*/ 65893 h 227970"/>
                <a:gd name="connsiteX9" fmla="*/ 148401 w 274352"/>
                <a:gd name="connsiteY9" fmla="*/ 227971 h 227970"/>
                <a:gd name="connsiteX10" fmla="*/ 109324 w 274352"/>
                <a:gd name="connsiteY10" fmla="*/ 227971 h 227970"/>
                <a:gd name="connsiteX11" fmla="*/ 44414 w 274352"/>
                <a:gd name="connsiteY11" fmla="*/ 65893 h 227970"/>
                <a:gd name="connsiteX12" fmla="*/ 44414 w 274352"/>
                <a:gd name="connsiteY12" fmla="*/ 225679 h 227970"/>
                <a:gd name="connsiteX13" fmla="*/ 0 w 274352"/>
                <a:gd name="connsiteY13" fmla="*/ 225679 h 227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352" h="227970">
                  <a:moveTo>
                    <a:pt x="0" y="225679"/>
                  </a:moveTo>
                  <a:lnTo>
                    <a:pt x="0" y="0"/>
                  </a:lnTo>
                  <a:lnTo>
                    <a:pt x="81732" y="0"/>
                  </a:lnTo>
                  <a:lnTo>
                    <a:pt x="138514" y="144199"/>
                  </a:lnTo>
                  <a:lnTo>
                    <a:pt x="196720" y="0"/>
                  </a:lnTo>
                  <a:lnTo>
                    <a:pt x="274352" y="0"/>
                  </a:lnTo>
                  <a:lnTo>
                    <a:pt x="274352" y="225679"/>
                  </a:lnTo>
                  <a:lnTo>
                    <a:pt x="214583" y="225679"/>
                  </a:lnTo>
                  <a:lnTo>
                    <a:pt x="214583" y="65893"/>
                  </a:lnTo>
                  <a:lnTo>
                    <a:pt x="148401" y="227971"/>
                  </a:lnTo>
                  <a:lnTo>
                    <a:pt x="109324" y="227971"/>
                  </a:lnTo>
                  <a:lnTo>
                    <a:pt x="44414" y="65893"/>
                  </a:lnTo>
                  <a:lnTo>
                    <a:pt x="44414"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6" name="Freihandform: Form 15">
              <a:extLst>
                <a:ext uri="{FF2B5EF4-FFF2-40B4-BE49-F238E27FC236}">
                  <a16:creationId xmlns:a16="http://schemas.microsoft.com/office/drawing/2014/main" id="{5001C0A1-52DF-4229-87C2-08790ED8D0AD}"/>
                </a:ext>
              </a:extLst>
            </p:cNvPr>
            <p:cNvSpPr/>
            <p:nvPr/>
          </p:nvSpPr>
          <p:spPr>
            <a:xfrm>
              <a:off x="10648889" y="556241"/>
              <a:ext cx="164291" cy="225678"/>
            </a:xfrm>
            <a:custGeom>
              <a:avLst/>
              <a:gdLst>
                <a:gd name="connsiteX0" fmla="*/ 0 w 164291"/>
                <a:gd name="connsiteY0" fmla="*/ 225679 h 225678"/>
                <a:gd name="connsiteX1" fmla="*/ 0 w 164291"/>
                <a:gd name="connsiteY1" fmla="*/ 0 h 225678"/>
                <a:gd name="connsiteX2" fmla="*/ 161674 w 164291"/>
                <a:gd name="connsiteY2" fmla="*/ 0 h 225678"/>
                <a:gd name="connsiteX3" fmla="*/ 161674 w 164291"/>
                <a:gd name="connsiteY3" fmla="*/ 40820 h 225678"/>
                <a:gd name="connsiteX4" fmla="*/ 60761 w 164291"/>
                <a:gd name="connsiteY4" fmla="*/ 40820 h 225678"/>
                <a:gd name="connsiteX5" fmla="*/ 60761 w 164291"/>
                <a:gd name="connsiteY5" fmla="*/ 91778 h 225678"/>
                <a:gd name="connsiteX6" fmla="*/ 148606 w 164291"/>
                <a:gd name="connsiteY6" fmla="*/ 91778 h 225678"/>
                <a:gd name="connsiteX7" fmla="*/ 148606 w 164291"/>
                <a:gd name="connsiteY7" fmla="*/ 129010 h 225678"/>
                <a:gd name="connsiteX8" fmla="*/ 60761 w 164291"/>
                <a:gd name="connsiteY8" fmla="*/ 129010 h 225678"/>
                <a:gd name="connsiteX9" fmla="*/ 60761 w 164291"/>
                <a:gd name="connsiteY9" fmla="*/ 182568 h 225678"/>
                <a:gd name="connsiteX10" fmla="*/ 164292 w 164291"/>
                <a:gd name="connsiteY10" fmla="*/ 182568 h 225678"/>
                <a:gd name="connsiteX11" fmla="*/ 164292 w 164291"/>
                <a:gd name="connsiteY11" fmla="*/ 225679 h 225678"/>
                <a:gd name="connsiteX12" fmla="*/ 0 w 164291"/>
                <a:gd name="connsiteY12"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291" h="225678">
                  <a:moveTo>
                    <a:pt x="0" y="225679"/>
                  </a:moveTo>
                  <a:lnTo>
                    <a:pt x="0" y="0"/>
                  </a:lnTo>
                  <a:lnTo>
                    <a:pt x="161674" y="0"/>
                  </a:lnTo>
                  <a:lnTo>
                    <a:pt x="161674" y="40820"/>
                  </a:lnTo>
                  <a:lnTo>
                    <a:pt x="60761" y="40820"/>
                  </a:lnTo>
                  <a:lnTo>
                    <a:pt x="60761" y="91778"/>
                  </a:lnTo>
                  <a:lnTo>
                    <a:pt x="148606" y="91778"/>
                  </a:lnTo>
                  <a:lnTo>
                    <a:pt x="148606" y="129010"/>
                  </a:lnTo>
                  <a:lnTo>
                    <a:pt x="60761" y="129010"/>
                  </a:lnTo>
                  <a:lnTo>
                    <a:pt x="60761" y="182568"/>
                  </a:lnTo>
                  <a:lnTo>
                    <a:pt x="164292" y="182568"/>
                  </a:lnTo>
                  <a:lnTo>
                    <a:pt x="164292"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7" name="Freihandform: Form 16">
              <a:extLst>
                <a:ext uri="{FF2B5EF4-FFF2-40B4-BE49-F238E27FC236}">
                  <a16:creationId xmlns:a16="http://schemas.microsoft.com/office/drawing/2014/main" id="{9447A40A-F836-4164-A8A4-AAE4AFDAC261}"/>
                </a:ext>
              </a:extLst>
            </p:cNvPr>
            <p:cNvSpPr/>
            <p:nvPr/>
          </p:nvSpPr>
          <p:spPr>
            <a:xfrm>
              <a:off x="10854660" y="556241"/>
              <a:ext cx="194974" cy="225678"/>
            </a:xfrm>
            <a:custGeom>
              <a:avLst/>
              <a:gdLst>
                <a:gd name="connsiteX0" fmla="*/ 0 w 194974"/>
                <a:gd name="connsiteY0" fmla="*/ 225679 h 225678"/>
                <a:gd name="connsiteX1" fmla="*/ 0 w 194974"/>
                <a:gd name="connsiteY1" fmla="*/ 0 h 225678"/>
                <a:gd name="connsiteX2" fmla="*/ 73060 w 194974"/>
                <a:gd name="connsiteY2" fmla="*/ 0 h 225678"/>
                <a:gd name="connsiteX3" fmla="*/ 150572 w 194974"/>
                <a:gd name="connsiteY3" fmla="*/ 151075 h 225678"/>
                <a:gd name="connsiteX4" fmla="*/ 150572 w 194974"/>
                <a:gd name="connsiteY4" fmla="*/ 0 h 225678"/>
                <a:gd name="connsiteX5" fmla="*/ 194975 w 194974"/>
                <a:gd name="connsiteY5" fmla="*/ 0 h 225678"/>
                <a:gd name="connsiteX6" fmla="*/ 194975 w 194974"/>
                <a:gd name="connsiteY6" fmla="*/ 225679 h 225678"/>
                <a:gd name="connsiteX7" fmla="*/ 123988 w 194974"/>
                <a:gd name="connsiteY7" fmla="*/ 225679 h 225678"/>
                <a:gd name="connsiteX8" fmla="*/ 44418 w 194974"/>
                <a:gd name="connsiteY8" fmla="*/ 72572 h 225678"/>
                <a:gd name="connsiteX9" fmla="*/ 44418 w 194974"/>
                <a:gd name="connsiteY9" fmla="*/ 225679 h 225678"/>
                <a:gd name="connsiteX10" fmla="*/ 0 w 194974"/>
                <a:gd name="connsiteY10"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74" h="225678">
                  <a:moveTo>
                    <a:pt x="0" y="225679"/>
                  </a:moveTo>
                  <a:lnTo>
                    <a:pt x="0" y="0"/>
                  </a:lnTo>
                  <a:lnTo>
                    <a:pt x="73060" y="0"/>
                  </a:lnTo>
                  <a:lnTo>
                    <a:pt x="150572" y="151075"/>
                  </a:lnTo>
                  <a:lnTo>
                    <a:pt x="150572" y="0"/>
                  </a:lnTo>
                  <a:lnTo>
                    <a:pt x="194975" y="0"/>
                  </a:lnTo>
                  <a:lnTo>
                    <a:pt x="194975" y="225679"/>
                  </a:lnTo>
                  <a:lnTo>
                    <a:pt x="123988" y="225679"/>
                  </a:lnTo>
                  <a:lnTo>
                    <a:pt x="44418" y="72572"/>
                  </a:lnTo>
                  <a:lnTo>
                    <a:pt x="44418"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sp>
          <p:nvSpPr>
            <p:cNvPr id="29" name="Freihandform: Form 17">
              <a:extLst>
                <a:ext uri="{FF2B5EF4-FFF2-40B4-BE49-F238E27FC236}">
                  <a16:creationId xmlns:a16="http://schemas.microsoft.com/office/drawing/2014/main" id="{24415DF3-5E0F-45E5-8768-FF80F6A7CB2C}"/>
                </a:ext>
              </a:extLst>
            </p:cNvPr>
            <p:cNvSpPr/>
            <p:nvPr/>
          </p:nvSpPr>
          <p:spPr>
            <a:xfrm>
              <a:off x="11089830" y="552320"/>
              <a:ext cx="173413" cy="234163"/>
            </a:xfrm>
            <a:custGeom>
              <a:avLst/>
              <a:gdLst>
                <a:gd name="connsiteX0" fmla="*/ 4555 w 173413"/>
                <a:gd name="connsiteY0" fmla="*/ 225949 h 234163"/>
                <a:gd name="connsiteX1" fmla="*/ 4555 w 173413"/>
                <a:gd name="connsiteY1" fmla="*/ 181380 h 234163"/>
                <a:gd name="connsiteX2" fmla="*/ 71909 w 173413"/>
                <a:gd name="connsiteY2" fmla="*/ 193357 h 234163"/>
                <a:gd name="connsiteX3" fmla="*/ 112337 w 173413"/>
                <a:gd name="connsiteY3" fmla="*/ 171988 h 234163"/>
                <a:gd name="connsiteX4" fmla="*/ 106622 w 173413"/>
                <a:gd name="connsiteY4" fmla="*/ 158604 h 234163"/>
                <a:gd name="connsiteX5" fmla="*/ 75585 w 173413"/>
                <a:gd name="connsiteY5" fmla="*/ 142653 h 234163"/>
                <a:gd name="connsiteX6" fmla="*/ 17496 w 173413"/>
                <a:gd name="connsiteY6" fmla="*/ 111415 h 234163"/>
                <a:gd name="connsiteX7" fmla="*/ 0 w 173413"/>
                <a:gd name="connsiteY7" fmla="*/ 68226 h 234163"/>
                <a:gd name="connsiteX8" fmla="*/ 25503 w 173413"/>
                <a:gd name="connsiteY8" fmla="*/ 17371 h 234163"/>
                <a:gd name="connsiteX9" fmla="*/ 91217 w 173413"/>
                <a:gd name="connsiteY9" fmla="*/ 0 h 234163"/>
                <a:gd name="connsiteX10" fmla="*/ 150206 w 173413"/>
                <a:gd name="connsiteY10" fmla="*/ 7255 h 234163"/>
                <a:gd name="connsiteX11" fmla="*/ 155781 w 173413"/>
                <a:gd name="connsiteY11" fmla="*/ 8223 h 234163"/>
                <a:gd name="connsiteX12" fmla="*/ 155781 w 173413"/>
                <a:gd name="connsiteY12" fmla="*/ 51097 h 234163"/>
                <a:gd name="connsiteX13" fmla="*/ 97237 w 173413"/>
                <a:gd name="connsiteY13" fmla="*/ 38547 h 234163"/>
                <a:gd name="connsiteX14" fmla="*/ 59443 w 173413"/>
                <a:gd name="connsiteY14" fmla="*/ 59428 h 234163"/>
                <a:gd name="connsiteX15" fmla="*/ 67070 w 173413"/>
                <a:gd name="connsiteY15" fmla="*/ 72174 h 234163"/>
                <a:gd name="connsiteX16" fmla="*/ 102304 w 173413"/>
                <a:gd name="connsiteY16" fmla="*/ 89076 h 234163"/>
                <a:gd name="connsiteX17" fmla="*/ 157140 w 173413"/>
                <a:gd name="connsiteY17" fmla="*/ 120979 h 234163"/>
                <a:gd name="connsiteX18" fmla="*/ 173414 w 173413"/>
                <a:gd name="connsiteY18" fmla="*/ 162596 h 234163"/>
                <a:gd name="connsiteX19" fmla="*/ 141690 w 173413"/>
                <a:gd name="connsiteY19" fmla="*/ 218551 h 234163"/>
                <a:gd name="connsiteX20" fmla="*/ 74561 w 173413"/>
                <a:gd name="connsiteY20" fmla="*/ 234163 h 234163"/>
                <a:gd name="connsiteX21" fmla="*/ 4555 w 173413"/>
                <a:gd name="connsiteY21" fmla="*/ 225949 h 234163"/>
                <a:gd name="connsiteX22" fmla="*/ 4555 w 173413"/>
                <a:gd name="connsiteY22" fmla="*/ 225949 h 23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413" h="234163">
                  <a:moveTo>
                    <a:pt x="4555" y="225949"/>
                  </a:moveTo>
                  <a:lnTo>
                    <a:pt x="4555" y="181380"/>
                  </a:lnTo>
                  <a:cubicBezTo>
                    <a:pt x="29709" y="189363"/>
                    <a:pt x="52151" y="193357"/>
                    <a:pt x="71909" y="193357"/>
                  </a:cubicBezTo>
                  <a:cubicBezTo>
                    <a:pt x="98868" y="193357"/>
                    <a:pt x="112337" y="186231"/>
                    <a:pt x="112337" y="171988"/>
                  </a:cubicBezTo>
                  <a:cubicBezTo>
                    <a:pt x="112337" y="166679"/>
                    <a:pt x="110426" y="162218"/>
                    <a:pt x="106622" y="158604"/>
                  </a:cubicBezTo>
                  <a:cubicBezTo>
                    <a:pt x="102581" y="154773"/>
                    <a:pt x="92238" y="149459"/>
                    <a:pt x="75585" y="142653"/>
                  </a:cubicBezTo>
                  <a:cubicBezTo>
                    <a:pt x="45976" y="130544"/>
                    <a:pt x="26590" y="120133"/>
                    <a:pt x="17496" y="111415"/>
                  </a:cubicBezTo>
                  <a:cubicBezTo>
                    <a:pt x="5828" y="100146"/>
                    <a:pt x="0" y="85754"/>
                    <a:pt x="0" y="68226"/>
                  </a:cubicBezTo>
                  <a:cubicBezTo>
                    <a:pt x="0" y="46008"/>
                    <a:pt x="8485" y="29058"/>
                    <a:pt x="25503" y="17371"/>
                  </a:cubicBezTo>
                  <a:cubicBezTo>
                    <a:pt x="42288" y="5784"/>
                    <a:pt x="64206" y="0"/>
                    <a:pt x="91217" y="0"/>
                  </a:cubicBezTo>
                  <a:cubicBezTo>
                    <a:pt x="106397" y="0"/>
                    <a:pt x="126075" y="2411"/>
                    <a:pt x="150206" y="7255"/>
                  </a:cubicBezTo>
                  <a:lnTo>
                    <a:pt x="155781" y="8223"/>
                  </a:lnTo>
                  <a:lnTo>
                    <a:pt x="155781" y="51097"/>
                  </a:lnTo>
                  <a:cubicBezTo>
                    <a:pt x="134819" y="42725"/>
                    <a:pt x="115307" y="38547"/>
                    <a:pt x="97237" y="38547"/>
                  </a:cubicBezTo>
                  <a:cubicBezTo>
                    <a:pt x="72019" y="38547"/>
                    <a:pt x="59443" y="45498"/>
                    <a:pt x="59443" y="59428"/>
                  </a:cubicBezTo>
                  <a:cubicBezTo>
                    <a:pt x="59443" y="64636"/>
                    <a:pt x="61981" y="68882"/>
                    <a:pt x="67070" y="72174"/>
                  </a:cubicBezTo>
                  <a:cubicBezTo>
                    <a:pt x="71118" y="74738"/>
                    <a:pt x="82862" y="80367"/>
                    <a:pt x="102304" y="89076"/>
                  </a:cubicBezTo>
                  <a:cubicBezTo>
                    <a:pt x="129635" y="101306"/>
                    <a:pt x="147928" y="111936"/>
                    <a:pt x="157140" y="120979"/>
                  </a:cubicBezTo>
                  <a:cubicBezTo>
                    <a:pt x="167996" y="131706"/>
                    <a:pt x="173414" y="145584"/>
                    <a:pt x="173414" y="162596"/>
                  </a:cubicBezTo>
                  <a:cubicBezTo>
                    <a:pt x="173414" y="187047"/>
                    <a:pt x="162838" y="205701"/>
                    <a:pt x="141690" y="218551"/>
                  </a:cubicBezTo>
                  <a:cubicBezTo>
                    <a:pt x="124366" y="228973"/>
                    <a:pt x="101982" y="234163"/>
                    <a:pt x="74561" y="234163"/>
                  </a:cubicBezTo>
                  <a:cubicBezTo>
                    <a:pt x="51378" y="234159"/>
                    <a:pt x="28035" y="231433"/>
                    <a:pt x="4555" y="225949"/>
                  </a:cubicBezTo>
                  <a:lnTo>
                    <a:pt x="4555" y="22594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F3F3F0"/>
                </a:solidFill>
                <a:effectLst/>
                <a:uLnTx/>
                <a:uFillTx/>
                <a:latin typeface="Arial" pitchFamily="34" charset="0"/>
                <a:ea typeface="ＭＳ Ｐゴシック" charset="-128"/>
                <a:cs typeface="+mn-cs"/>
              </a:endParaRPr>
            </a:p>
          </p:txBody>
        </p:sp>
      </p:grpSp>
      <p:sp>
        <p:nvSpPr>
          <p:cNvPr id="31" name="Textfeld 30">
            <a:extLst>
              <a:ext uri="{FF2B5EF4-FFF2-40B4-BE49-F238E27FC236}">
                <a16:creationId xmlns:a16="http://schemas.microsoft.com/office/drawing/2014/main" id="{E325FA50-377F-4DB3-A281-BBCE387C7B89}"/>
              </a:ext>
            </a:extLst>
          </p:cNvPr>
          <p:cNvSpPr txBox="1">
            <a:spLocks noChangeAspect="1"/>
          </p:cNvSpPr>
          <p:nvPr/>
        </p:nvSpPr>
        <p:spPr>
          <a:xfrm>
            <a:off x="9648026" y="1394287"/>
            <a:ext cx="1980251" cy="1980251"/>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BEDC">
                    <a:lumMod val="50000"/>
                  </a:srgbClr>
                </a:solidFill>
                <a:effectLst/>
                <a:uLnTx/>
                <a:uFillTx/>
                <a:latin typeface="Arial" pitchFamily="34" charset="0"/>
                <a:ea typeface="Arial Unicode MS" panose="020B0604020202020204" pitchFamily="34" charset="-128"/>
                <a:cs typeface="Arial Unicode MS" panose="020B0604020202020204" pitchFamily="34" charset="-128"/>
              </a:rPr>
              <a:t>Aging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400" b="1" i="0" u="none" strike="noStrike" kern="1200" cap="none" spc="0" normalizeH="0" baseline="0" noProof="0" dirty="0">
                <a:ln>
                  <a:noFill/>
                </a:ln>
                <a:solidFill>
                  <a:srgbClr val="00BEDC">
                    <a:lumMod val="50000"/>
                  </a:srgbClr>
                </a:solidFill>
                <a:effectLst/>
                <a:uLnTx/>
                <a:uFillTx/>
                <a:latin typeface="Arial" pitchFamily="34" charset="0"/>
                <a:ea typeface="Arial Unicode MS" panose="020B0604020202020204" pitchFamily="34" charset="-128"/>
                <a:cs typeface="Arial Unicode MS" panose="020B0604020202020204" pitchFamily="34" charset="-128"/>
              </a:rPr>
              <a:t>Workforce</a:t>
            </a:r>
          </a:p>
        </p:txBody>
      </p:sp>
      <p:sp>
        <p:nvSpPr>
          <p:cNvPr id="32" name="Textfeld 31">
            <a:extLst>
              <a:ext uri="{FF2B5EF4-FFF2-40B4-BE49-F238E27FC236}">
                <a16:creationId xmlns:a16="http://schemas.microsoft.com/office/drawing/2014/main" id="{37D3A085-4C30-43DB-A8FB-0419F663D6DD}"/>
              </a:ext>
            </a:extLst>
          </p:cNvPr>
          <p:cNvSpPr txBox="1">
            <a:spLocks noChangeAspect="1"/>
          </p:cNvSpPr>
          <p:nvPr/>
        </p:nvSpPr>
        <p:spPr>
          <a:xfrm>
            <a:off x="8791277" y="3501182"/>
            <a:ext cx="1980251" cy="1980251"/>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200" b="1" i="0" u="none" strike="noStrike" kern="1200" cap="none" spc="0" normalizeH="0" baseline="0" noProof="0" dirty="0">
                <a:ln>
                  <a:noFill/>
                </a:ln>
                <a:solidFill>
                  <a:srgbClr val="000028">
                    <a:lumMod val="50000"/>
                    <a:lumOff val="50000"/>
                  </a:srgbClr>
                </a:solidFill>
                <a:effectLst/>
                <a:uLnTx/>
                <a:uFillTx/>
                <a:latin typeface="Arial" pitchFamily="34" charset="0"/>
                <a:ea typeface="Arial Unicode MS" panose="020B0604020202020204" pitchFamily="34" charset="-128"/>
                <a:cs typeface="Arial Unicode MS" panose="020B0604020202020204" pitchFamily="34" charset="-128"/>
              </a:rPr>
              <a:t>Operational </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200" b="1" i="0" u="none" strike="noStrike" kern="1200" cap="none" spc="0" normalizeH="0" baseline="0" noProof="0" dirty="0">
                <a:ln>
                  <a:noFill/>
                </a:ln>
                <a:solidFill>
                  <a:srgbClr val="000028">
                    <a:lumMod val="50000"/>
                    <a:lumOff val="50000"/>
                  </a:srgbClr>
                </a:solidFill>
                <a:effectLst/>
                <a:uLnTx/>
                <a:uFillTx/>
                <a:latin typeface="Arial" pitchFamily="34" charset="0"/>
                <a:ea typeface="Arial Unicode MS" panose="020B0604020202020204" pitchFamily="34" charset="-128"/>
                <a:cs typeface="Arial Unicode MS" panose="020B0604020202020204" pitchFamily="34" charset="-128"/>
              </a:rPr>
              <a:t>Transparency</a:t>
            </a:r>
          </a:p>
        </p:txBody>
      </p:sp>
      <p:sp>
        <p:nvSpPr>
          <p:cNvPr id="33" name="Textfeld 32">
            <a:extLst>
              <a:ext uri="{FF2B5EF4-FFF2-40B4-BE49-F238E27FC236}">
                <a16:creationId xmlns:a16="http://schemas.microsoft.com/office/drawing/2014/main" id="{90305ADB-DC42-42F2-A8C0-BFDF8D1A1ED5}"/>
              </a:ext>
            </a:extLst>
          </p:cNvPr>
          <p:cNvSpPr txBox="1">
            <a:spLocks noChangeAspect="1"/>
          </p:cNvSpPr>
          <p:nvPr/>
        </p:nvSpPr>
        <p:spPr>
          <a:xfrm>
            <a:off x="7845325" y="1459759"/>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2000" b="0" i="0" u="none" strike="noStrike" kern="1200" cap="none" spc="0" normalizeH="0" baseline="0" noProof="0" dirty="0">
                <a:ln>
                  <a:noFill/>
                </a:ln>
                <a:solidFill>
                  <a:srgbClr val="00B050"/>
                </a:solidFill>
                <a:effectLst/>
                <a:uLnTx/>
                <a:uFillTx/>
                <a:latin typeface="Arial" pitchFamily="34" charset="0"/>
                <a:ea typeface="Arial Unicode MS" panose="020B0604020202020204" pitchFamily="34" charset="-128"/>
                <a:cs typeface="Arial Unicode MS" panose="020B0604020202020204" pitchFamily="34" charset="-128"/>
              </a:rPr>
              <a:t>less energy</a:t>
            </a:r>
            <a:br>
              <a:rPr kumimoji="0" lang="en-US" sz="2000" b="0" i="0" u="none" strike="noStrike" kern="1200" cap="none" spc="0" normalizeH="0" baseline="0" noProof="0" dirty="0">
                <a:ln>
                  <a:noFill/>
                </a:ln>
                <a:solidFill>
                  <a:srgbClr val="00B050"/>
                </a:solidFill>
                <a:effectLst/>
                <a:uLnTx/>
                <a:uFillTx/>
                <a:latin typeface="Arial" pitchFamily="34" charset="0"/>
                <a:ea typeface="Arial Unicode MS" panose="020B0604020202020204" pitchFamily="34" charset="-128"/>
                <a:cs typeface="Arial Unicode MS" panose="020B0604020202020204" pitchFamily="34" charset="-128"/>
              </a:rPr>
            </a:br>
            <a:r>
              <a:rPr kumimoji="0" lang="en-US" sz="2000" b="0" i="0" u="none" strike="noStrike" kern="1200" cap="none" spc="0" normalizeH="0" baseline="0" noProof="0" dirty="0">
                <a:ln>
                  <a:noFill/>
                </a:ln>
                <a:solidFill>
                  <a:srgbClr val="00B050"/>
                </a:solidFill>
                <a:effectLst/>
                <a:uLnTx/>
                <a:uFillTx/>
                <a:latin typeface="Arial" pitchFamily="34" charset="0"/>
                <a:ea typeface="Arial Unicode MS" panose="020B0604020202020204" pitchFamily="34" charset="-128"/>
                <a:cs typeface="Arial Unicode MS" panose="020B0604020202020204" pitchFamily="34" charset="-128"/>
              </a:rPr>
              <a:t> / less CO2</a:t>
            </a:r>
          </a:p>
        </p:txBody>
      </p:sp>
      <p:sp>
        <p:nvSpPr>
          <p:cNvPr id="10" name="Textfeld 9">
            <a:extLst>
              <a:ext uri="{FF2B5EF4-FFF2-40B4-BE49-F238E27FC236}">
                <a16:creationId xmlns:a16="http://schemas.microsoft.com/office/drawing/2014/main" id="{DCD4CDC5-4358-4E7E-BFCD-CFD498FF7BC4}"/>
              </a:ext>
            </a:extLst>
          </p:cNvPr>
          <p:cNvSpPr txBox="1">
            <a:spLocks noChangeAspect="1"/>
          </p:cNvSpPr>
          <p:nvPr/>
        </p:nvSpPr>
        <p:spPr>
          <a:xfrm>
            <a:off x="4804642" y="3454587"/>
            <a:ext cx="1440000" cy="1440000"/>
          </a:xfrm>
          <a:prstGeom prst="ellipse">
            <a:avLst/>
          </a:prstGeom>
          <a:solidFill>
            <a:schemeClr val="bg1"/>
          </a:solidFill>
          <a:ln w="12700">
            <a:solidFill>
              <a:schemeClr val="accent2"/>
            </a:solidFill>
          </a:ln>
        </p:spPr>
        <p:txBody>
          <a:bodyPr wrap="none" lIns="0" tIns="0" rIns="0" bIns="0" rtlCol="0" anchor="ctr">
            <a:noAutofit/>
          </a:bodyPr>
          <a:lstStyle/>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Energy Audits</a:t>
            </a:r>
          </a:p>
          <a:p>
            <a:pPr marL="0" marR="0" lvl="0" indent="0" algn="ctr" defTabSz="914400" rtl="0" eaLnBrk="1" fontAlgn="base" latinLnBrk="0" hangingPunct="1">
              <a:lnSpc>
                <a:spcPct val="110000"/>
              </a:lnSpc>
              <a:spcBef>
                <a:spcPts val="0"/>
              </a:spcBef>
              <a:spcAft>
                <a:spcPct val="0"/>
              </a:spcAft>
              <a:buClrTx/>
              <a:buSzTx/>
              <a:buFontTx/>
              <a:buNone/>
              <a:tabLst/>
              <a:defRPr/>
            </a:pPr>
            <a:r>
              <a:rPr kumimoji="0" lang="en-US" sz="1600" b="0" i="0" u="none" strike="noStrike" kern="1200" cap="none" spc="0" normalizeH="0" baseline="0" noProof="0" dirty="0">
                <a:ln>
                  <a:noFill/>
                </a:ln>
                <a:solidFill>
                  <a:srgbClr val="AF235F"/>
                </a:solidFill>
                <a:effectLst/>
                <a:uLnTx/>
                <a:uFillTx/>
                <a:latin typeface="Arial" pitchFamily="34" charset="0"/>
                <a:ea typeface="Arial Unicode MS" panose="020B0604020202020204" pitchFamily="34" charset="-128"/>
                <a:cs typeface="Arial Unicode MS" panose="020B0604020202020204" pitchFamily="34" charset="-128"/>
              </a:rPr>
              <a:t>(ISO 50001)</a:t>
            </a:r>
          </a:p>
        </p:txBody>
      </p:sp>
      <p:sp>
        <p:nvSpPr>
          <p:cNvPr id="39" name="Rechteck 38">
            <a:extLst>
              <a:ext uri="{FF2B5EF4-FFF2-40B4-BE49-F238E27FC236}">
                <a16:creationId xmlns:a16="http://schemas.microsoft.com/office/drawing/2014/main" id="{A93DD36B-6ACE-4C0B-A7AA-D83761B60ADA}"/>
              </a:ext>
            </a:extLst>
          </p:cNvPr>
          <p:cNvSpPr/>
          <p:nvPr/>
        </p:nvSpPr>
        <p:spPr bwMode="auto">
          <a:xfrm>
            <a:off x="5788694" y="5963178"/>
            <a:ext cx="678344" cy="162085"/>
          </a:xfrm>
          <a:prstGeom prst="rect">
            <a:avLst/>
          </a:prstGeom>
          <a:solidFill>
            <a:schemeClr val="bg1">
              <a:alpha val="66000"/>
            </a:schemeClr>
          </a:soli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dirty="0">
              <a:ln>
                <a:noFill/>
              </a:ln>
              <a:solidFill>
                <a:srgbClr val="000000"/>
              </a:solidFill>
              <a:effectLst/>
              <a:uLnTx/>
              <a:uFillTx/>
              <a:latin typeface="Arial"/>
              <a:ea typeface="Arial Unicode MS" panose="020B0604020202020204" pitchFamily="34" charset="-128"/>
              <a:cs typeface="Arial Unicode MS" panose="020B0604020202020204" pitchFamily="34" charset="-128"/>
            </a:endParaRPr>
          </a:p>
        </p:txBody>
      </p:sp>
    </p:spTree>
    <p:extLst>
      <p:ext uri="{BB962C8B-B14F-4D97-AF65-F5344CB8AC3E}">
        <p14:creationId xmlns:p14="http://schemas.microsoft.com/office/powerpoint/2010/main" val="126223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fill="hold"/>
                                        <p:tgtEl>
                                          <p:spTgt spid="4"/>
                                        </p:tgtEl>
                                        <p:attrNameLst>
                                          <p:attrName>ppt_w</p:attrName>
                                        </p:attrNameLst>
                                      </p:cBhvr>
                                      <p:tavLst>
                                        <p:tav tm="0">
                                          <p:val>
                                            <p:fltVal val="0"/>
                                          </p:val>
                                        </p:tav>
                                        <p:tav tm="100000">
                                          <p:val>
                                            <p:strVal val="#ppt_w"/>
                                          </p:val>
                                        </p:tav>
                                      </p:tavLst>
                                    </p:anim>
                                    <p:anim calcmode="lin" valueType="num">
                                      <p:cBhvr>
                                        <p:cTn id="13" dur="500" fill="hold"/>
                                        <p:tgtEl>
                                          <p:spTgt spid="4"/>
                                        </p:tgtEl>
                                        <p:attrNameLst>
                                          <p:attrName>ppt_h</p:attrName>
                                        </p:attrNameLst>
                                      </p:cBhvr>
                                      <p:tavLst>
                                        <p:tav tm="0">
                                          <p:val>
                                            <p:fltVal val="0"/>
                                          </p:val>
                                        </p:tav>
                                        <p:tav tm="100000">
                                          <p:val>
                                            <p:strVal val="#ppt_h"/>
                                          </p:val>
                                        </p:tav>
                                      </p:tavLst>
                                    </p:anim>
                                    <p:animEffect transition="in" filter="fade">
                                      <p:cBhvr>
                                        <p:cTn id="14" dur="500"/>
                                        <p:tgtEl>
                                          <p:spTgt spid="4"/>
                                        </p:tgtEl>
                                      </p:cBhvr>
                                    </p:animEffect>
                                  </p:childTnLst>
                                </p:cTn>
                              </p:par>
                              <p:par>
                                <p:cTn id="15" presetID="53" presetClass="entr" presetSubtype="16" fill="hold" grpId="0" nodeType="withEffect">
                                  <p:stCondLst>
                                    <p:cond delay="500"/>
                                  </p:stCondLst>
                                  <p:childTnLst>
                                    <p:set>
                                      <p:cBhvr>
                                        <p:cTn id="16" dur="1" fill="hold">
                                          <p:stCondLst>
                                            <p:cond delay="0"/>
                                          </p:stCondLst>
                                        </p:cTn>
                                        <p:tgtEl>
                                          <p:spTgt spid="5"/>
                                        </p:tgtEl>
                                        <p:attrNameLst>
                                          <p:attrName>style.visibility</p:attrName>
                                        </p:attrNameLst>
                                      </p:cBhvr>
                                      <p:to>
                                        <p:strVal val="visible"/>
                                      </p:to>
                                    </p:set>
                                    <p:anim calcmode="lin" valueType="num">
                                      <p:cBhvr>
                                        <p:cTn id="17" dur="500" fill="hold"/>
                                        <p:tgtEl>
                                          <p:spTgt spid="5"/>
                                        </p:tgtEl>
                                        <p:attrNameLst>
                                          <p:attrName>ppt_w</p:attrName>
                                        </p:attrNameLst>
                                      </p:cBhvr>
                                      <p:tavLst>
                                        <p:tav tm="0">
                                          <p:val>
                                            <p:fltVal val="0"/>
                                          </p:val>
                                        </p:tav>
                                        <p:tav tm="100000">
                                          <p:val>
                                            <p:strVal val="#ppt_w"/>
                                          </p:val>
                                        </p:tav>
                                      </p:tavLst>
                                    </p:anim>
                                    <p:anim calcmode="lin" valueType="num">
                                      <p:cBhvr>
                                        <p:cTn id="18" dur="500" fill="hold"/>
                                        <p:tgtEl>
                                          <p:spTgt spid="5"/>
                                        </p:tgtEl>
                                        <p:attrNameLst>
                                          <p:attrName>ppt_h</p:attrName>
                                        </p:attrNameLst>
                                      </p:cBhvr>
                                      <p:tavLst>
                                        <p:tav tm="0">
                                          <p:val>
                                            <p:fltVal val="0"/>
                                          </p:val>
                                        </p:tav>
                                        <p:tav tm="100000">
                                          <p:val>
                                            <p:strVal val="#ppt_h"/>
                                          </p:val>
                                        </p:tav>
                                      </p:tavLst>
                                    </p:anim>
                                    <p:animEffect transition="in" filter="fade">
                                      <p:cBhvr>
                                        <p:cTn id="19" dur="500"/>
                                        <p:tgtEl>
                                          <p:spTgt spid="5"/>
                                        </p:tgtEl>
                                      </p:cBhvr>
                                    </p:animEffect>
                                  </p:childTnLst>
                                </p:cTn>
                              </p:par>
                              <p:par>
                                <p:cTn id="20" presetID="53" presetClass="entr" presetSubtype="16" fill="hold" grpId="0" nodeType="withEffect">
                                  <p:stCondLst>
                                    <p:cond delay="1000"/>
                                  </p:stCondLst>
                                  <p:childTnLst>
                                    <p:set>
                                      <p:cBhvr>
                                        <p:cTn id="21" dur="1" fill="hold">
                                          <p:stCondLst>
                                            <p:cond delay="0"/>
                                          </p:stCondLst>
                                        </p:cTn>
                                        <p:tgtEl>
                                          <p:spTgt spid="6"/>
                                        </p:tgtEl>
                                        <p:attrNameLst>
                                          <p:attrName>style.visibility</p:attrName>
                                        </p:attrNameLst>
                                      </p:cBhvr>
                                      <p:to>
                                        <p:strVal val="visible"/>
                                      </p:to>
                                    </p:set>
                                    <p:anim calcmode="lin" valueType="num">
                                      <p:cBhvr>
                                        <p:cTn id="22" dur="500" fill="hold"/>
                                        <p:tgtEl>
                                          <p:spTgt spid="6"/>
                                        </p:tgtEl>
                                        <p:attrNameLst>
                                          <p:attrName>ppt_w</p:attrName>
                                        </p:attrNameLst>
                                      </p:cBhvr>
                                      <p:tavLst>
                                        <p:tav tm="0">
                                          <p:val>
                                            <p:fltVal val="0"/>
                                          </p:val>
                                        </p:tav>
                                        <p:tav tm="100000">
                                          <p:val>
                                            <p:strVal val="#ppt_w"/>
                                          </p:val>
                                        </p:tav>
                                      </p:tavLst>
                                    </p:anim>
                                    <p:anim calcmode="lin" valueType="num">
                                      <p:cBhvr>
                                        <p:cTn id="23" dur="500" fill="hold"/>
                                        <p:tgtEl>
                                          <p:spTgt spid="6"/>
                                        </p:tgtEl>
                                        <p:attrNameLst>
                                          <p:attrName>ppt_h</p:attrName>
                                        </p:attrNameLst>
                                      </p:cBhvr>
                                      <p:tavLst>
                                        <p:tav tm="0">
                                          <p:val>
                                            <p:fltVal val="0"/>
                                          </p:val>
                                        </p:tav>
                                        <p:tav tm="100000">
                                          <p:val>
                                            <p:strVal val="#ppt_h"/>
                                          </p:val>
                                        </p:tav>
                                      </p:tavLst>
                                    </p:anim>
                                    <p:animEffect transition="in" filter="fade">
                                      <p:cBhvr>
                                        <p:cTn id="24" dur="500"/>
                                        <p:tgtEl>
                                          <p:spTgt spid="6"/>
                                        </p:tgtEl>
                                      </p:cBhvr>
                                    </p:animEffect>
                                  </p:childTnLst>
                                </p:cTn>
                              </p:par>
                              <p:par>
                                <p:cTn id="25" presetID="53" presetClass="entr" presetSubtype="16" fill="hold" grpId="0" nodeType="withEffect">
                                  <p:stCondLst>
                                    <p:cond delay="1250"/>
                                  </p:stCondLst>
                                  <p:childTnLst>
                                    <p:set>
                                      <p:cBhvr>
                                        <p:cTn id="26" dur="1" fill="hold">
                                          <p:stCondLst>
                                            <p:cond delay="0"/>
                                          </p:stCondLst>
                                        </p:cTn>
                                        <p:tgtEl>
                                          <p:spTgt spid="7"/>
                                        </p:tgtEl>
                                        <p:attrNameLst>
                                          <p:attrName>style.visibility</p:attrName>
                                        </p:attrNameLst>
                                      </p:cBhvr>
                                      <p:to>
                                        <p:strVal val="visible"/>
                                      </p:to>
                                    </p:set>
                                    <p:anim calcmode="lin" valueType="num">
                                      <p:cBhvr>
                                        <p:cTn id="27" dur="500" fill="hold"/>
                                        <p:tgtEl>
                                          <p:spTgt spid="7"/>
                                        </p:tgtEl>
                                        <p:attrNameLst>
                                          <p:attrName>ppt_w</p:attrName>
                                        </p:attrNameLst>
                                      </p:cBhvr>
                                      <p:tavLst>
                                        <p:tav tm="0">
                                          <p:val>
                                            <p:fltVal val="0"/>
                                          </p:val>
                                        </p:tav>
                                        <p:tav tm="100000">
                                          <p:val>
                                            <p:strVal val="#ppt_w"/>
                                          </p:val>
                                        </p:tav>
                                      </p:tavLst>
                                    </p:anim>
                                    <p:anim calcmode="lin" valueType="num">
                                      <p:cBhvr>
                                        <p:cTn id="28" dur="500" fill="hold"/>
                                        <p:tgtEl>
                                          <p:spTgt spid="7"/>
                                        </p:tgtEl>
                                        <p:attrNameLst>
                                          <p:attrName>ppt_h</p:attrName>
                                        </p:attrNameLst>
                                      </p:cBhvr>
                                      <p:tavLst>
                                        <p:tav tm="0">
                                          <p:val>
                                            <p:fltVal val="0"/>
                                          </p:val>
                                        </p:tav>
                                        <p:tav tm="100000">
                                          <p:val>
                                            <p:strVal val="#ppt_h"/>
                                          </p:val>
                                        </p:tav>
                                      </p:tavLst>
                                    </p:anim>
                                    <p:animEffect transition="in" filter="fade">
                                      <p:cBhvr>
                                        <p:cTn id="29" dur="500"/>
                                        <p:tgtEl>
                                          <p:spTgt spid="7"/>
                                        </p:tgtEl>
                                      </p:cBhvr>
                                    </p:animEffect>
                                  </p:childTnLst>
                                </p:cTn>
                              </p:par>
                              <p:par>
                                <p:cTn id="30" presetID="53" presetClass="entr" presetSubtype="16" fill="hold" grpId="0" nodeType="withEffect">
                                  <p:stCondLst>
                                    <p:cond delay="1500"/>
                                  </p:stCondLst>
                                  <p:childTnLst>
                                    <p:set>
                                      <p:cBhvr>
                                        <p:cTn id="31" dur="1" fill="hold">
                                          <p:stCondLst>
                                            <p:cond delay="0"/>
                                          </p:stCondLst>
                                        </p:cTn>
                                        <p:tgtEl>
                                          <p:spTgt spid="8"/>
                                        </p:tgtEl>
                                        <p:attrNameLst>
                                          <p:attrName>style.visibility</p:attrName>
                                        </p:attrNameLst>
                                      </p:cBhvr>
                                      <p:to>
                                        <p:strVal val="visible"/>
                                      </p:to>
                                    </p:set>
                                    <p:anim calcmode="lin" valueType="num">
                                      <p:cBhvr>
                                        <p:cTn id="32" dur="500" fill="hold"/>
                                        <p:tgtEl>
                                          <p:spTgt spid="8"/>
                                        </p:tgtEl>
                                        <p:attrNameLst>
                                          <p:attrName>ppt_w</p:attrName>
                                        </p:attrNameLst>
                                      </p:cBhvr>
                                      <p:tavLst>
                                        <p:tav tm="0">
                                          <p:val>
                                            <p:fltVal val="0"/>
                                          </p:val>
                                        </p:tav>
                                        <p:tav tm="100000">
                                          <p:val>
                                            <p:strVal val="#ppt_w"/>
                                          </p:val>
                                        </p:tav>
                                      </p:tavLst>
                                    </p:anim>
                                    <p:anim calcmode="lin" valueType="num">
                                      <p:cBhvr>
                                        <p:cTn id="33" dur="500" fill="hold"/>
                                        <p:tgtEl>
                                          <p:spTgt spid="8"/>
                                        </p:tgtEl>
                                        <p:attrNameLst>
                                          <p:attrName>ppt_h</p:attrName>
                                        </p:attrNameLst>
                                      </p:cBhvr>
                                      <p:tavLst>
                                        <p:tav tm="0">
                                          <p:val>
                                            <p:fltVal val="0"/>
                                          </p:val>
                                        </p:tav>
                                        <p:tav tm="100000">
                                          <p:val>
                                            <p:strVal val="#ppt_h"/>
                                          </p:val>
                                        </p:tav>
                                      </p:tavLst>
                                    </p:anim>
                                    <p:animEffect transition="in" filter="fade">
                                      <p:cBhvr>
                                        <p:cTn id="34" dur="500"/>
                                        <p:tgtEl>
                                          <p:spTgt spid="8"/>
                                        </p:tgtEl>
                                      </p:cBhvr>
                                    </p:animEffect>
                                  </p:childTnLst>
                                </p:cTn>
                              </p:par>
                              <p:par>
                                <p:cTn id="35" presetID="53" presetClass="entr" presetSubtype="16" fill="hold" grpId="0" nodeType="withEffect">
                                  <p:stCondLst>
                                    <p:cond delay="1750"/>
                                  </p:stCondLst>
                                  <p:childTnLst>
                                    <p:set>
                                      <p:cBhvr>
                                        <p:cTn id="36" dur="1" fill="hold">
                                          <p:stCondLst>
                                            <p:cond delay="0"/>
                                          </p:stCondLst>
                                        </p:cTn>
                                        <p:tgtEl>
                                          <p:spTgt spid="9"/>
                                        </p:tgtEl>
                                        <p:attrNameLst>
                                          <p:attrName>style.visibility</p:attrName>
                                        </p:attrNameLst>
                                      </p:cBhvr>
                                      <p:to>
                                        <p:strVal val="visible"/>
                                      </p:to>
                                    </p:set>
                                    <p:anim calcmode="lin" valueType="num">
                                      <p:cBhvr>
                                        <p:cTn id="37" dur="500" fill="hold"/>
                                        <p:tgtEl>
                                          <p:spTgt spid="9"/>
                                        </p:tgtEl>
                                        <p:attrNameLst>
                                          <p:attrName>ppt_w</p:attrName>
                                        </p:attrNameLst>
                                      </p:cBhvr>
                                      <p:tavLst>
                                        <p:tav tm="0">
                                          <p:val>
                                            <p:fltVal val="0"/>
                                          </p:val>
                                        </p:tav>
                                        <p:tav tm="100000">
                                          <p:val>
                                            <p:strVal val="#ppt_w"/>
                                          </p:val>
                                        </p:tav>
                                      </p:tavLst>
                                    </p:anim>
                                    <p:anim calcmode="lin" valueType="num">
                                      <p:cBhvr>
                                        <p:cTn id="38" dur="500" fill="hold"/>
                                        <p:tgtEl>
                                          <p:spTgt spid="9"/>
                                        </p:tgtEl>
                                        <p:attrNameLst>
                                          <p:attrName>ppt_h</p:attrName>
                                        </p:attrNameLst>
                                      </p:cBhvr>
                                      <p:tavLst>
                                        <p:tav tm="0">
                                          <p:val>
                                            <p:fltVal val="0"/>
                                          </p:val>
                                        </p:tav>
                                        <p:tav tm="100000">
                                          <p:val>
                                            <p:strVal val="#ppt_h"/>
                                          </p:val>
                                        </p:tav>
                                      </p:tavLst>
                                    </p:anim>
                                    <p:animEffect transition="in" filter="fade">
                                      <p:cBhvr>
                                        <p:cTn id="39" dur="500"/>
                                        <p:tgtEl>
                                          <p:spTgt spid="9"/>
                                        </p:tgtEl>
                                      </p:cBhvr>
                                    </p:animEffect>
                                  </p:childTnLst>
                                </p:cTn>
                              </p:par>
                              <p:par>
                                <p:cTn id="40" presetID="53" presetClass="entr" presetSubtype="16" fill="hold" grpId="0" nodeType="withEffect">
                                  <p:stCondLst>
                                    <p:cond delay="200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par>
                                <p:cTn id="45" presetID="53" presetClass="entr" presetSubtype="16" fill="hold" grpId="0" nodeType="withEffect">
                                  <p:stCondLst>
                                    <p:cond delay="2250"/>
                                  </p:stCondLst>
                                  <p:childTnLst>
                                    <p:set>
                                      <p:cBhvr>
                                        <p:cTn id="46" dur="1" fill="hold">
                                          <p:stCondLst>
                                            <p:cond delay="0"/>
                                          </p:stCondLst>
                                        </p:cTn>
                                        <p:tgtEl>
                                          <p:spTgt spid="11"/>
                                        </p:tgtEl>
                                        <p:attrNameLst>
                                          <p:attrName>style.visibility</p:attrName>
                                        </p:attrNameLst>
                                      </p:cBhvr>
                                      <p:to>
                                        <p:strVal val="visible"/>
                                      </p:to>
                                    </p:set>
                                    <p:anim calcmode="lin" valueType="num">
                                      <p:cBhvr>
                                        <p:cTn id="47" dur="500" fill="hold"/>
                                        <p:tgtEl>
                                          <p:spTgt spid="11"/>
                                        </p:tgtEl>
                                        <p:attrNameLst>
                                          <p:attrName>ppt_w</p:attrName>
                                        </p:attrNameLst>
                                      </p:cBhvr>
                                      <p:tavLst>
                                        <p:tav tm="0">
                                          <p:val>
                                            <p:fltVal val="0"/>
                                          </p:val>
                                        </p:tav>
                                        <p:tav tm="100000">
                                          <p:val>
                                            <p:strVal val="#ppt_w"/>
                                          </p:val>
                                        </p:tav>
                                      </p:tavLst>
                                    </p:anim>
                                    <p:anim calcmode="lin" valueType="num">
                                      <p:cBhvr>
                                        <p:cTn id="48" dur="500" fill="hold"/>
                                        <p:tgtEl>
                                          <p:spTgt spid="11"/>
                                        </p:tgtEl>
                                        <p:attrNameLst>
                                          <p:attrName>ppt_h</p:attrName>
                                        </p:attrNameLst>
                                      </p:cBhvr>
                                      <p:tavLst>
                                        <p:tav tm="0">
                                          <p:val>
                                            <p:fltVal val="0"/>
                                          </p:val>
                                        </p:tav>
                                        <p:tav tm="100000">
                                          <p:val>
                                            <p:strVal val="#ppt_h"/>
                                          </p:val>
                                        </p:tav>
                                      </p:tavLst>
                                    </p:anim>
                                    <p:animEffect transition="in" filter="fade">
                                      <p:cBhvr>
                                        <p:cTn id="49" dur="500"/>
                                        <p:tgtEl>
                                          <p:spTgt spid="11"/>
                                        </p:tgtEl>
                                      </p:cBhvr>
                                    </p:animEffect>
                                  </p:childTnLst>
                                </p:cTn>
                              </p:par>
                              <p:par>
                                <p:cTn id="50" presetID="53" presetClass="entr" presetSubtype="16" fill="hold" grpId="0" nodeType="withEffect">
                                  <p:stCondLst>
                                    <p:cond delay="2500"/>
                                  </p:stCondLst>
                                  <p:childTnLst>
                                    <p:set>
                                      <p:cBhvr>
                                        <p:cTn id="51" dur="1" fill="hold">
                                          <p:stCondLst>
                                            <p:cond delay="0"/>
                                          </p:stCondLst>
                                        </p:cTn>
                                        <p:tgtEl>
                                          <p:spTgt spid="12"/>
                                        </p:tgtEl>
                                        <p:attrNameLst>
                                          <p:attrName>style.visibility</p:attrName>
                                        </p:attrNameLst>
                                      </p:cBhvr>
                                      <p:to>
                                        <p:strVal val="visible"/>
                                      </p:to>
                                    </p:set>
                                    <p:anim calcmode="lin" valueType="num">
                                      <p:cBhvr>
                                        <p:cTn id="52" dur="500" fill="hold"/>
                                        <p:tgtEl>
                                          <p:spTgt spid="12"/>
                                        </p:tgtEl>
                                        <p:attrNameLst>
                                          <p:attrName>ppt_w</p:attrName>
                                        </p:attrNameLst>
                                      </p:cBhvr>
                                      <p:tavLst>
                                        <p:tav tm="0">
                                          <p:val>
                                            <p:fltVal val="0"/>
                                          </p:val>
                                        </p:tav>
                                        <p:tav tm="100000">
                                          <p:val>
                                            <p:strVal val="#ppt_w"/>
                                          </p:val>
                                        </p:tav>
                                      </p:tavLst>
                                    </p:anim>
                                    <p:anim calcmode="lin" valueType="num">
                                      <p:cBhvr>
                                        <p:cTn id="53" dur="500" fill="hold"/>
                                        <p:tgtEl>
                                          <p:spTgt spid="12"/>
                                        </p:tgtEl>
                                        <p:attrNameLst>
                                          <p:attrName>ppt_h</p:attrName>
                                        </p:attrNameLst>
                                      </p:cBhvr>
                                      <p:tavLst>
                                        <p:tav tm="0">
                                          <p:val>
                                            <p:fltVal val="0"/>
                                          </p:val>
                                        </p:tav>
                                        <p:tav tm="100000">
                                          <p:val>
                                            <p:strVal val="#ppt_h"/>
                                          </p:val>
                                        </p:tav>
                                      </p:tavLst>
                                    </p:anim>
                                    <p:animEffect transition="in" filter="fade">
                                      <p:cBhvr>
                                        <p:cTn id="54" dur="500"/>
                                        <p:tgtEl>
                                          <p:spTgt spid="12"/>
                                        </p:tgtEl>
                                      </p:cBhvr>
                                    </p:animEffect>
                                  </p:childTnLst>
                                </p:cTn>
                              </p:par>
                              <p:par>
                                <p:cTn id="55" presetID="53" presetClass="entr" presetSubtype="16" fill="hold" grpId="0" nodeType="withEffect">
                                  <p:stCondLst>
                                    <p:cond delay="2750"/>
                                  </p:stCondLst>
                                  <p:childTnLst>
                                    <p:set>
                                      <p:cBhvr>
                                        <p:cTn id="56" dur="1" fill="hold">
                                          <p:stCondLst>
                                            <p:cond delay="0"/>
                                          </p:stCondLst>
                                        </p:cTn>
                                        <p:tgtEl>
                                          <p:spTgt spid="13"/>
                                        </p:tgtEl>
                                        <p:attrNameLst>
                                          <p:attrName>style.visibility</p:attrName>
                                        </p:attrNameLst>
                                      </p:cBhvr>
                                      <p:to>
                                        <p:strVal val="visible"/>
                                      </p:to>
                                    </p:set>
                                    <p:anim calcmode="lin" valueType="num">
                                      <p:cBhvr>
                                        <p:cTn id="57" dur="500" fill="hold"/>
                                        <p:tgtEl>
                                          <p:spTgt spid="13"/>
                                        </p:tgtEl>
                                        <p:attrNameLst>
                                          <p:attrName>ppt_w</p:attrName>
                                        </p:attrNameLst>
                                      </p:cBhvr>
                                      <p:tavLst>
                                        <p:tav tm="0">
                                          <p:val>
                                            <p:fltVal val="0"/>
                                          </p:val>
                                        </p:tav>
                                        <p:tav tm="100000">
                                          <p:val>
                                            <p:strVal val="#ppt_w"/>
                                          </p:val>
                                        </p:tav>
                                      </p:tavLst>
                                    </p:anim>
                                    <p:anim calcmode="lin" valueType="num">
                                      <p:cBhvr>
                                        <p:cTn id="58" dur="500" fill="hold"/>
                                        <p:tgtEl>
                                          <p:spTgt spid="13"/>
                                        </p:tgtEl>
                                        <p:attrNameLst>
                                          <p:attrName>ppt_h</p:attrName>
                                        </p:attrNameLst>
                                      </p:cBhvr>
                                      <p:tavLst>
                                        <p:tav tm="0">
                                          <p:val>
                                            <p:fltVal val="0"/>
                                          </p:val>
                                        </p:tav>
                                        <p:tav tm="100000">
                                          <p:val>
                                            <p:strVal val="#ppt_h"/>
                                          </p:val>
                                        </p:tav>
                                      </p:tavLst>
                                    </p:anim>
                                    <p:animEffect transition="in" filter="fade">
                                      <p:cBhvr>
                                        <p:cTn id="59" dur="500"/>
                                        <p:tgtEl>
                                          <p:spTgt spid="13"/>
                                        </p:tgtEl>
                                      </p:cBhvr>
                                    </p:animEffect>
                                  </p:childTnLst>
                                </p:cTn>
                              </p:par>
                              <p:par>
                                <p:cTn id="60" presetID="53" presetClass="entr" presetSubtype="16" fill="hold" grpId="0" nodeType="withEffect">
                                  <p:stCondLst>
                                    <p:cond delay="3000"/>
                                  </p:stCondLst>
                                  <p:childTnLst>
                                    <p:set>
                                      <p:cBhvr>
                                        <p:cTn id="61" dur="1" fill="hold">
                                          <p:stCondLst>
                                            <p:cond delay="0"/>
                                          </p:stCondLst>
                                        </p:cTn>
                                        <p:tgtEl>
                                          <p:spTgt spid="14"/>
                                        </p:tgtEl>
                                        <p:attrNameLst>
                                          <p:attrName>style.visibility</p:attrName>
                                        </p:attrNameLst>
                                      </p:cBhvr>
                                      <p:to>
                                        <p:strVal val="visible"/>
                                      </p:to>
                                    </p:set>
                                    <p:anim calcmode="lin" valueType="num">
                                      <p:cBhvr>
                                        <p:cTn id="62" dur="500" fill="hold"/>
                                        <p:tgtEl>
                                          <p:spTgt spid="14"/>
                                        </p:tgtEl>
                                        <p:attrNameLst>
                                          <p:attrName>ppt_w</p:attrName>
                                        </p:attrNameLst>
                                      </p:cBhvr>
                                      <p:tavLst>
                                        <p:tav tm="0">
                                          <p:val>
                                            <p:fltVal val="0"/>
                                          </p:val>
                                        </p:tav>
                                        <p:tav tm="100000">
                                          <p:val>
                                            <p:strVal val="#ppt_w"/>
                                          </p:val>
                                        </p:tav>
                                      </p:tavLst>
                                    </p:anim>
                                    <p:anim calcmode="lin" valueType="num">
                                      <p:cBhvr>
                                        <p:cTn id="63" dur="500" fill="hold"/>
                                        <p:tgtEl>
                                          <p:spTgt spid="14"/>
                                        </p:tgtEl>
                                        <p:attrNameLst>
                                          <p:attrName>ppt_h</p:attrName>
                                        </p:attrNameLst>
                                      </p:cBhvr>
                                      <p:tavLst>
                                        <p:tav tm="0">
                                          <p:val>
                                            <p:fltVal val="0"/>
                                          </p:val>
                                        </p:tav>
                                        <p:tav tm="100000">
                                          <p:val>
                                            <p:strVal val="#ppt_h"/>
                                          </p:val>
                                        </p:tav>
                                      </p:tavLst>
                                    </p:anim>
                                    <p:animEffect transition="in" filter="fade">
                                      <p:cBhvr>
                                        <p:cTn id="64" dur="500"/>
                                        <p:tgtEl>
                                          <p:spTgt spid="14"/>
                                        </p:tgtEl>
                                      </p:cBhvr>
                                    </p:animEffect>
                                  </p:childTnLst>
                                </p:cTn>
                              </p:par>
                              <p:par>
                                <p:cTn id="65" presetID="53" presetClass="entr" presetSubtype="16" fill="hold" grpId="0" nodeType="withEffect">
                                  <p:stCondLst>
                                    <p:cond delay="3250"/>
                                  </p:stCondLst>
                                  <p:childTnLst>
                                    <p:set>
                                      <p:cBhvr>
                                        <p:cTn id="66" dur="1" fill="hold">
                                          <p:stCondLst>
                                            <p:cond delay="0"/>
                                          </p:stCondLst>
                                        </p:cTn>
                                        <p:tgtEl>
                                          <p:spTgt spid="15"/>
                                        </p:tgtEl>
                                        <p:attrNameLst>
                                          <p:attrName>style.visibility</p:attrName>
                                        </p:attrNameLst>
                                      </p:cBhvr>
                                      <p:to>
                                        <p:strVal val="visible"/>
                                      </p:to>
                                    </p:set>
                                    <p:anim calcmode="lin" valueType="num">
                                      <p:cBhvr>
                                        <p:cTn id="67" dur="500" fill="hold"/>
                                        <p:tgtEl>
                                          <p:spTgt spid="15"/>
                                        </p:tgtEl>
                                        <p:attrNameLst>
                                          <p:attrName>ppt_w</p:attrName>
                                        </p:attrNameLst>
                                      </p:cBhvr>
                                      <p:tavLst>
                                        <p:tav tm="0">
                                          <p:val>
                                            <p:fltVal val="0"/>
                                          </p:val>
                                        </p:tav>
                                        <p:tav tm="100000">
                                          <p:val>
                                            <p:strVal val="#ppt_w"/>
                                          </p:val>
                                        </p:tav>
                                      </p:tavLst>
                                    </p:anim>
                                    <p:anim calcmode="lin" valueType="num">
                                      <p:cBhvr>
                                        <p:cTn id="68" dur="500" fill="hold"/>
                                        <p:tgtEl>
                                          <p:spTgt spid="15"/>
                                        </p:tgtEl>
                                        <p:attrNameLst>
                                          <p:attrName>ppt_h</p:attrName>
                                        </p:attrNameLst>
                                      </p:cBhvr>
                                      <p:tavLst>
                                        <p:tav tm="0">
                                          <p:val>
                                            <p:fltVal val="0"/>
                                          </p:val>
                                        </p:tav>
                                        <p:tav tm="100000">
                                          <p:val>
                                            <p:strVal val="#ppt_h"/>
                                          </p:val>
                                        </p:tav>
                                      </p:tavLst>
                                    </p:anim>
                                    <p:animEffect transition="in" filter="fade">
                                      <p:cBhvr>
                                        <p:cTn id="69" dur="500"/>
                                        <p:tgtEl>
                                          <p:spTgt spid="15"/>
                                        </p:tgtEl>
                                      </p:cBhvr>
                                    </p:animEffect>
                                  </p:childTnLst>
                                </p:cTn>
                              </p:par>
                              <p:par>
                                <p:cTn id="70" presetID="53" presetClass="entr" presetSubtype="16" fill="hold" grpId="0" nodeType="withEffect">
                                  <p:stCondLst>
                                    <p:cond delay="3500"/>
                                  </p:stCondLst>
                                  <p:childTnLst>
                                    <p:set>
                                      <p:cBhvr>
                                        <p:cTn id="71" dur="1" fill="hold">
                                          <p:stCondLst>
                                            <p:cond delay="0"/>
                                          </p:stCondLst>
                                        </p:cTn>
                                        <p:tgtEl>
                                          <p:spTgt spid="16"/>
                                        </p:tgtEl>
                                        <p:attrNameLst>
                                          <p:attrName>style.visibility</p:attrName>
                                        </p:attrNameLst>
                                      </p:cBhvr>
                                      <p:to>
                                        <p:strVal val="visible"/>
                                      </p:to>
                                    </p:set>
                                    <p:anim calcmode="lin" valueType="num">
                                      <p:cBhvr>
                                        <p:cTn id="72" dur="500" fill="hold"/>
                                        <p:tgtEl>
                                          <p:spTgt spid="16"/>
                                        </p:tgtEl>
                                        <p:attrNameLst>
                                          <p:attrName>ppt_w</p:attrName>
                                        </p:attrNameLst>
                                      </p:cBhvr>
                                      <p:tavLst>
                                        <p:tav tm="0">
                                          <p:val>
                                            <p:fltVal val="0"/>
                                          </p:val>
                                        </p:tav>
                                        <p:tav tm="100000">
                                          <p:val>
                                            <p:strVal val="#ppt_w"/>
                                          </p:val>
                                        </p:tav>
                                      </p:tavLst>
                                    </p:anim>
                                    <p:anim calcmode="lin" valueType="num">
                                      <p:cBhvr>
                                        <p:cTn id="73" dur="500" fill="hold"/>
                                        <p:tgtEl>
                                          <p:spTgt spid="16"/>
                                        </p:tgtEl>
                                        <p:attrNameLst>
                                          <p:attrName>ppt_h</p:attrName>
                                        </p:attrNameLst>
                                      </p:cBhvr>
                                      <p:tavLst>
                                        <p:tav tm="0">
                                          <p:val>
                                            <p:fltVal val="0"/>
                                          </p:val>
                                        </p:tav>
                                        <p:tav tm="100000">
                                          <p:val>
                                            <p:strVal val="#ppt_h"/>
                                          </p:val>
                                        </p:tav>
                                      </p:tavLst>
                                    </p:anim>
                                    <p:animEffect transition="in" filter="fade">
                                      <p:cBhvr>
                                        <p:cTn id="74" dur="500"/>
                                        <p:tgtEl>
                                          <p:spTgt spid="16"/>
                                        </p:tgtEl>
                                      </p:cBhvr>
                                    </p:animEffect>
                                  </p:childTnLst>
                                </p:cTn>
                              </p:par>
                              <p:par>
                                <p:cTn id="75" presetID="53" presetClass="entr" presetSubtype="16" fill="hold" grpId="0" nodeType="withEffect">
                                  <p:stCondLst>
                                    <p:cond delay="1250"/>
                                  </p:stCondLst>
                                  <p:childTnLst>
                                    <p:set>
                                      <p:cBhvr>
                                        <p:cTn id="76" dur="1" fill="hold">
                                          <p:stCondLst>
                                            <p:cond delay="0"/>
                                          </p:stCondLst>
                                        </p:cTn>
                                        <p:tgtEl>
                                          <p:spTgt spid="32"/>
                                        </p:tgtEl>
                                        <p:attrNameLst>
                                          <p:attrName>style.visibility</p:attrName>
                                        </p:attrNameLst>
                                      </p:cBhvr>
                                      <p:to>
                                        <p:strVal val="visible"/>
                                      </p:to>
                                    </p:set>
                                    <p:anim calcmode="lin" valueType="num">
                                      <p:cBhvr>
                                        <p:cTn id="77" dur="500" fill="hold"/>
                                        <p:tgtEl>
                                          <p:spTgt spid="32"/>
                                        </p:tgtEl>
                                        <p:attrNameLst>
                                          <p:attrName>ppt_w</p:attrName>
                                        </p:attrNameLst>
                                      </p:cBhvr>
                                      <p:tavLst>
                                        <p:tav tm="0">
                                          <p:val>
                                            <p:fltVal val="0"/>
                                          </p:val>
                                        </p:tav>
                                        <p:tav tm="100000">
                                          <p:val>
                                            <p:strVal val="#ppt_w"/>
                                          </p:val>
                                        </p:tav>
                                      </p:tavLst>
                                    </p:anim>
                                    <p:anim calcmode="lin" valueType="num">
                                      <p:cBhvr>
                                        <p:cTn id="78" dur="500" fill="hold"/>
                                        <p:tgtEl>
                                          <p:spTgt spid="32"/>
                                        </p:tgtEl>
                                        <p:attrNameLst>
                                          <p:attrName>ppt_h</p:attrName>
                                        </p:attrNameLst>
                                      </p:cBhvr>
                                      <p:tavLst>
                                        <p:tav tm="0">
                                          <p:val>
                                            <p:fltVal val="0"/>
                                          </p:val>
                                        </p:tav>
                                        <p:tav tm="100000">
                                          <p:val>
                                            <p:strVal val="#ppt_h"/>
                                          </p:val>
                                        </p:tav>
                                      </p:tavLst>
                                    </p:anim>
                                    <p:animEffect transition="in" filter="fade">
                                      <p:cBhvr>
                                        <p:cTn id="79" dur="500"/>
                                        <p:tgtEl>
                                          <p:spTgt spid="32"/>
                                        </p:tgtEl>
                                      </p:cBhvr>
                                    </p:animEffect>
                                  </p:childTnLst>
                                </p:cTn>
                              </p:par>
                              <p:par>
                                <p:cTn id="80" presetID="53" presetClass="entr" presetSubtype="16" fill="hold" grpId="0" nodeType="withEffect">
                                  <p:stCondLst>
                                    <p:cond delay="1250"/>
                                  </p:stCondLst>
                                  <p:childTnLst>
                                    <p:set>
                                      <p:cBhvr>
                                        <p:cTn id="81" dur="1" fill="hold">
                                          <p:stCondLst>
                                            <p:cond delay="0"/>
                                          </p:stCondLst>
                                        </p:cTn>
                                        <p:tgtEl>
                                          <p:spTgt spid="31"/>
                                        </p:tgtEl>
                                        <p:attrNameLst>
                                          <p:attrName>style.visibility</p:attrName>
                                        </p:attrNameLst>
                                      </p:cBhvr>
                                      <p:to>
                                        <p:strVal val="visible"/>
                                      </p:to>
                                    </p:set>
                                    <p:anim calcmode="lin" valueType="num">
                                      <p:cBhvr>
                                        <p:cTn id="82" dur="500" fill="hold"/>
                                        <p:tgtEl>
                                          <p:spTgt spid="31"/>
                                        </p:tgtEl>
                                        <p:attrNameLst>
                                          <p:attrName>ppt_w</p:attrName>
                                        </p:attrNameLst>
                                      </p:cBhvr>
                                      <p:tavLst>
                                        <p:tav tm="0">
                                          <p:val>
                                            <p:fltVal val="0"/>
                                          </p:val>
                                        </p:tav>
                                        <p:tav tm="100000">
                                          <p:val>
                                            <p:strVal val="#ppt_w"/>
                                          </p:val>
                                        </p:tav>
                                      </p:tavLst>
                                    </p:anim>
                                    <p:anim calcmode="lin" valueType="num">
                                      <p:cBhvr>
                                        <p:cTn id="83" dur="500" fill="hold"/>
                                        <p:tgtEl>
                                          <p:spTgt spid="31"/>
                                        </p:tgtEl>
                                        <p:attrNameLst>
                                          <p:attrName>ppt_h</p:attrName>
                                        </p:attrNameLst>
                                      </p:cBhvr>
                                      <p:tavLst>
                                        <p:tav tm="0">
                                          <p:val>
                                            <p:fltVal val="0"/>
                                          </p:val>
                                        </p:tav>
                                        <p:tav tm="100000">
                                          <p:val>
                                            <p:strVal val="#ppt_h"/>
                                          </p:val>
                                        </p:tav>
                                      </p:tavLst>
                                    </p:anim>
                                    <p:animEffect transition="in" filter="fade">
                                      <p:cBhvr>
                                        <p:cTn id="84" dur="500"/>
                                        <p:tgtEl>
                                          <p:spTgt spid="31"/>
                                        </p:tgtEl>
                                      </p:cBhvr>
                                    </p:animEffect>
                                  </p:childTnLst>
                                </p:cTn>
                              </p:par>
                              <p:par>
                                <p:cTn id="85" presetID="53" presetClass="entr" presetSubtype="16" fill="hold" grpId="0" nodeType="withEffect">
                                  <p:stCondLst>
                                    <p:cond delay="2750"/>
                                  </p:stCondLst>
                                  <p:childTnLst>
                                    <p:set>
                                      <p:cBhvr>
                                        <p:cTn id="86" dur="1" fill="hold">
                                          <p:stCondLst>
                                            <p:cond delay="0"/>
                                          </p:stCondLst>
                                        </p:cTn>
                                        <p:tgtEl>
                                          <p:spTgt spid="33"/>
                                        </p:tgtEl>
                                        <p:attrNameLst>
                                          <p:attrName>style.visibility</p:attrName>
                                        </p:attrNameLst>
                                      </p:cBhvr>
                                      <p:to>
                                        <p:strVal val="visible"/>
                                      </p:to>
                                    </p:set>
                                    <p:anim calcmode="lin" valueType="num">
                                      <p:cBhvr>
                                        <p:cTn id="87" dur="500" fill="hold"/>
                                        <p:tgtEl>
                                          <p:spTgt spid="33"/>
                                        </p:tgtEl>
                                        <p:attrNameLst>
                                          <p:attrName>ppt_w</p:attrName>
                                        </p:attrNameLst>
                                      </p:cBhvr>
                                      <p:tavLst>
                                        <p:tav tm="0">
                                          <p:val>
                                            <p:fltVal val="0"/>
                                          </p:val>
                                        </p:tav>
                                        <p:tav tm="100000">
                                          <p:val>
                                            <p:strVal val="#ppt_w"/>
                                          </p:val>
                                        </p:tav>
                                      </p:tavLst>
                                    </p:anim>
                                    <p:anim calcmode="lin" valueType="num">
                                      <p:cBhvr>
                                        <p:cTn id="88" dur="500" fill="hold"/>
                                        <p:tgtEl>
                                          <p:spTgt spid="33"/>
                                        </p:tgtEl>
                                        <p:attrNameLst>
                                          <p:attrName>ppt_h</p:attrName>
                                        </p:attrNameLst>
                                      </p:cBhvr>
                                      <p:tavLst>
                                        <p:tav tm="0">
                                          <p:val>
                                            <p:fltVal val="0"/>
                                          </p:val>
                                        </p:tav>
                                        <p:tav tm="100000">
                                          <p:val>
                                            <p:strVal val="#ppt_h"/>
                                          </p:val>
                                        </p:tav>
                                      </p:tavLst>
                                    </p:anim>
                                    <p:animEffect transition="in" filter="fade">
                                      <p:cBhvr>
                                        <p:cTn id="89"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9" grpId="0" animBg="1"/>
      <p:bldP spid="11" grpId="0" animBg="1"/>
      <p:bldP spid="12" grpId="0" animBg="1"/>
      <p:bldP spid="13" grpId="0" animBg="1"/>
      <p:bldP spid="14" grpId="0" animBg="1"/>
      <p:bldP spid="15" grpId="0" animBg="1"/>
      <p:bldP spid="16" grpId="0" animBg="1"/>
      <p:bldP spid="31" grpId="0" animBg="1"/>
      <p:bldP spid="32" grpId="0" animBg="1"/>
      <p:bldP spid="33" grpId="0" animBg="1"/>
      <p:bldP spid="10"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platzhalter 9">
            <a:extLst>
              <a:ext uri="{FF2B5EF4-FFF2-40B4-BE49-F238E27FC236}">
                <a16:creationId xmlns:a16="http://schemas.microsoft.com/office/drawing/2014/main" id="{30DED076-CF7D-4E24-9B25-99D5992370E0}"/>
              </a:ext>
            </a:extLst>
          </p:cNvPr>
          <p:cNvPicPr>
            <a:picLocks noGrp="1" noChangeAspect="1"/>
          </p:cNvPicPr>
          <p:nvPr>
            <p:ph type="pic" sz="quarter" idx="10"/>
          </p:nvPr>
        </p:nvPicPr>
        <p:blipFill>
          <a:blip r:embed="rId3" cstate="screen">
            <a:extLst>
              <a:ext uri="{28A0092B-C50C-407E-A947-70E740481C1C}">
                <a14:useLocalDpi xmlns:a14="http://schemas.microsoft.com/office/drawing/2010/main" val="0"/>
              </a:ext>
            </a:extLst>
          </a:blip>
          <a:srcRect/>
          <a:stretch>
            <a:fillRect/>
          </a:stretch>
        </p:blipFill>
        <p:spPr>
          <a:xfrm>
            <a:off x="-1967" y="0"/>
            <a:ext cx="12196800" cy="6858000"/>
          </a:xfrm>
        </p:spPr>
      </p:pic>
      <p:sp>
        <p:nvSpPr>
          <p:cNvPr id="4" name="Rechteck 3">
            <a:extLst>
              <a:ext uri="{FF2B5EF4-FFF2-40B4-BE49-F238E27FC236}">
                <a16:creationId xmlns:a16="http://schemas.microsoft.com/office/drawing/2014/main" id="{1375D8AC-0348-4F3A-AC14-B3ADDBF2B09B}"/>
              </a:ext>
            </a:extLst>
          </p:cNvPr>
          <p:cNvSpPr/>
          <p:nvPr/>
        </p:nvSpPr>
        <p:spPr bwMode="auto">
          <a:xfrm>
            <a:off x="-14667" y="0"/>
            <a:ext cx="12209500" cy="6858001"/>
          </a:xfrm>
          <a:prstGeom prst="rect">
            <a:avLst/>
          </a:prstGeom>
          <a:gradFill>
            <a:gsLst>
              <a:gs pos="31000">
                <a:srgbClr val="004669">
                  <a:alpha val="70000"/>
                </a:srgbClr>
              </a:gs>
              <a:gs pos="99000">
                <a:srgbClr val="004669">
                  <a:alpha val="0"/>
                </a:srgbClr>
              </a:gs>
            </a:gsLst>
            <a:lin ang="0" scaled="0"/>
          </a:gradFill>
          <a:ln>
            <a:noFill/>
          </a:ln>
          <a:effectLst/>
        </p:spPr>
        <p:txBody>
          <a:bodyPr wrap="square" lIns="108000" tIns="54000" rIns="108000" bIns="54000" numCol="1" spcCol="72000" rtlCol="0" anchor="ctr">
            <a:noAutofit/>
          </a:bodyPr>
          <a:lstStyle/>
          <a:p>
            <a:pPr marL="0" marR="0" lvl="0" indent="0" algn="ctr" defTabSz="914400" rtl="0" eaLnBrk="1" fontAlgn="base" latinLnBrk="0" hangingPunct="1">
              <a:lnSpc>
                <a:spcPct val="110000"/>
              </a:lnSpc>
              <a:spcBef>
                <a:spcPct val="0"/>
              </a:spcBef>
              <a:spcAft>
                <a:spcPct val="0"/>
              </a:spcAft>
              <a:buClrTx/>
              <a:buSzTx/>
              <a:buFont typeface="Wingdings" charset="0"/>
              <a:buNone/>
              <a:tabLst/>
              <a:defRPr/>
            </a:pPr>
            <a:endParaRPr kumimoji="0" lang="en-US" sz="1800" b="0" i="0" u="none" strike="noStrike" kern="1200" cap="none" spc="0" normalizeH="0" baseline="0" noProof="0">
              <a:ln>
                <a:noFill/>
              </a:ln>
              <a:solidFill>
                <a:prstClr val="white"/>
              </a:solidFill>
              <a:effectLst/>
              <a:uLnTx/>
              <a:uFillTx/>
              <a:latin typeface="Arial"/>
              <a:ea typeface="Arial Unicode MS" panose="020B0604020202020204" pitchFamily="34" charset="-128"/>
              <a:cs typeface="Arial Unicode MS" panose="020B0604020202020204" pitchFamily="34" charset="-128"/>
            </a:endParaRPr>
          </a:p>
        </p:txBody>
      </p:sp>
      <p:sp>
        <p:nvSpPr>
          <p:cNvPr id="14" name="Textfeld 13">
            <a:extLst>
              <a:ext uri="{FF2B5EF4-FFF2-40B4-BE49-F238E27FC236}">
                <a16:creationId xmlns:a16="http://schemas.microsoft.com/office/drawing/2014/main" id="{0CE9451F-F5FC-4C5C-ABD2-D35744D853E7}"/>
              </a:ext>
            </a:extLst>
          </p:cNvPr>
          <p:cNvSpPr txBox="1"/>
          <p:nvPr/>
        </p:nvSpPr>
        <p:spPr>
          <a:xfrm>
            <a:off x="875210" y="2810074"/>
            <a:ext cx="5868490" cy="2708434"/>
          </a:xfrm>
          <a:prstGeom prst="rect">
            <a:avLst/>
          </a:prstGeom>
          <a:noFill/>
          <a:effectLst>
            <a:outerShdw blurRad="254000" dir="5400000" algn="ctr" rotWithShape="0">
              <a:srgbClr val="004669"/>
            </a:outerShdw>
          </a:effectLst>
        </p:spPr>
        <p:txBody>
          <a:bodyPr wrap="square" lIns="0" tIns="0" rIns="0" bIns="0">
            <a:spAutoFit/>
          </a:bodyPr>
          <a:lstStyle/>
          <a:p>
            <a:pPr marL="0" marR="0" lvl="0" indent="0" algn="l" defTabSz="914400" rtl="0" eaLnBrk="1" fontAlgn="base" latinLnBrk="0" hangingPunct="1">
              <a:lnSpc>
                <a:spcPct val="100000"/>
              </a:lnSpc>
              <a:spcBef>
                <a:spcPts val="0"/>
              </a:spcBef>
              <a:spcAft>
                <a:spcPts val="180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Arial" pitchFamily="34" charset="0"/>
                <a:ea typeface="ＭＳ Ｐゴシック" charset="-128"/>
                <a:cs typeface="Arial" panose="020B0604020202020204" pitchFamily="34" charset="0"/>
              </a:rPr>
              <a:t>Missing capabilities in big data analytics means missed opportunities</a:t>
            </a:r>
          </a:p>
        </p:txBody>
      </p:sp>
      <p:grpSp>
        <p:nvGrpSpPr>
          <p:cNvPr id="6" name="Graphic 59">
            <a:extLst>
              <a:ext uri="{FF2B5EF4-FFF2-40B4-BE49-F238E27FC236}">
                <a16:creationId xmlns:a16="http://schemas.microsoft.com/office/drawing/2014/main" id="{B0CD4C9A-20D0-44BB-827E-197E12D79C99}"/>
              </a:ext>
            </a:extLst>
          </p:cNvPr>
          <p:cNvGrpSpPr/>
          <p:nvPr/>
        </p:nvGrpSpPr>
        <p:grpSpPr>
          <a:xfrm>
            <a:off x="9781403" y="552320"/>
            <a:ext cx="1481839" cy="234163"/>
            <a:chOff x="9781403" y="552320"/>
            <a:chExt cx="1481839" cy="234163"/>
          </a:xfrm>
          <a:solidFill>
            <a:srgbClr val="FFFFFF"/>
          </a:solidFill>
        </p:grpSpPr>
        <p:sp>
          <p:nvSpPr>
            <p:cNvPr id="7" name="Freihandform: Form 11">
              <a:extLst>
                <a:ext uri="{FF2B5EF4-FFF2-40B4-BE49-F238E27FC236}">
                  <a16:creationId xmlns:a16="http://schemas.microsoft.com/office/drawing/2014/main" id="{12004246-F7CD-488D-AF4B-E841F955CA83}"/>
                </a:ext>
              </a:extLst>
            </p:cNvPr>
            <p:cNvSpPr/>
            <p:nvPr/>
          </p:nvSpPr>
          <p:spPr>
            <a:xfrm>
              <a:off x="9781403" y="552320"/>
              <a:ext cx="173430" cy="234163"/>
            </a:xfrm>
            <a:custGeom>
              <a:avLst/>
              <a:gdLst>
                <a:gd name="connsiteX0" fmla="*/ 4575 w 173430"/>
                <a:gd name="connsiteY0" fmla="*/ 225949 h 234163"/>
                <a:gd name="connsiteX1" fmla="*/ 4575 w 173430"/>
                <a:gd name="connsiteY1" fmla="*/ 181380 h 234163"/>
                <a:gd name="connsiteX2" fmla="*/ 71915 w 173430"/>
                <a:gd name="connsiteY2" fmla="*/ 193357 h 234163"/>
                <a:gd name="connsiteX3" fmla="*/ 112357 w 173430"/>
                <a:gd name="connsiteY3" fmla="*/ 171988 h 234163"/>
                <a:gd name="connsiteX4" fmla="*/ 106462 w 173430"/>
                <a:gd name="connsiteY4" fmla="*/ 158604 h 234163"/>
                <a:gd name="connsiteX5" fmla="*/ 75587 w 173430"/>
                <a:gd name="connsiteY5" fmla="*/ 142653 h 234163"/>
                <a:gd name="connsiteX6" fmla="*/ 17513 w 173430"/>
                <a:gd name="connsiteY6" fmla="*/ 111415 h 234163"/>
                <a:gd name="connsiteX7" fmla="*/ 0 w 173430"/>
                <a:gd name="connsiteY7" fmla="*/ 68377 h 234163"/>
                <a:gd name="connsiteX8" fmla="*/ 25505 w 173430"/>
                <a:gd name="connsiteY8" fmla="*/ 17371 h 234163"/>
                <a:gd name="connsiteX9" fmla="*/ 91212 w 173430"/>
                <a:gd name="connsiteY9" fmla="*/ 0 h 234163"/>
                <a:gd name="connsiteX10" fmla="*/ 155796 w 173430"/>
                <a:gd name="connsiteY10" fmla="*/ 8223 h 234163"/>
                <a:gd name="connsiteX11" fmla="*/ 155796 w 173430"/>
                <a:gd name="connsiteY11" fmla="*/ 51097 h 234163"/>
                <a:gd name="connsiteX12" fmla="*/ 97407 w 173430"/>
                <a:gd name="connsiteY12" fmla="*/ 38547 h 234163"/>
                <a:gd name="connsiteX13" fmla="*/ 59441 w 173430"/>
                <a:gd name="connsiteY13" fmla="*/ 59428 h 234163"/>
                <a:gd name="connsiteX14" fmla="*/ 67094 w 173430"/>
                <a:gd name="connsiteY14" fmla="*/ 72174 h 234163"/>
                <a:gd name="connsiteX15" fmla="*/ 102162 w 173430"/>
                <a:gd name="connsiteY15" fmla="*/ 89076 h 234163"/>
                <a:gd name="connsiteX16" fmla="*/ 157164 w 173430"/>
                <a:gd name="connsiteY16" fmla="*/ 120979 h 234163"/>
                <a:gd name="connsiteX17" fmla="*/ 173431 w 173430"/>
                <a:gd name="connsiteY17" fmla="*/ 162596 h 234163"/>
                <a:gd name="connsiteX18" fmla="*/ 141540 w 173430"/>
                <a:gd name="connsiteY18" fmla="*/ 218551 h 234163"/>
                <a:gd name="connsiteX19" fmla="*/ 74563 w 173430"/>
                <a:gd name="connsiteY19" fmla="*/ 234163 h 234163"/>
                <a:gd name="connsiteX20" fmla="*/ 4575 w 173430"/>
                <a:gd name="connsiteY20" fmla="*/ 225949 h 234163"/>
                <a:gd name="connsiteX21" fmla="*/ 4575 w 173430"/>
                <a:gd name="connsiteY21" fmla="*/ 225949 h 23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430" h="234163">
                  <a:moveTo>
                    <a:pt x="4575" y="225949"/>
                  </a:moveTo>
                  <a:lnTo>
                    <a:pt x="4575" y="181380"/>
                  </a:lnTo>
                  <a:cubicBezTo>
                    <a:pt x="29942" y="189363"/>
                    <a:pt x="52389" y="193357"/>
                    <a:pt x="71915" y="193357"/>
                  </a:cubicBezTo>
                  <a:cubicBezTo>
                    <a:pt x="98874" y="193357"/>
                    <a:pt x="112357" y="186231"/>
                    <a:pt x="112357" y="171988"/>
                  </a:cubicBezTo>
                  <a:cubicBezTo>
                    <a:pt x="112357" y="166679"/>
                    <a:pt x="110395" y="162218"/>
                    <a:pt x="106462" y="158604"/>
                  </a:cubicBezTo>
                  <a:cubicBezTo>
                    <a:pt x="102440" y="154773"/>
                    <a:pt x="92141" y="149459"/>
                    <a:pt x="75587" y="142653"/>
                  </a:cubicBezTo>
                  <a:cubicBezTo>
                    <a:pt x="45887" y="130442"/>
                    <a:pt x="26523" y="120027"/>
                    <a:pt x="17513" y="111415"/>
                  </a:cubicBezTo>
                  <a:cubicBezTo>
                    <a:pt x="5838" y="100045"/>
                    <a:pt x="0" y="85704"/>
                    <a:pt x="0" y="68377"/>
                  </a:cubicBezTo>
                  <a:cubicBezTo>
                    <a:pt x="0" y="46064"/>
                    <a:pt x="8506" y="29056"/>
                    <a:pt x="25505" y="17371"/>
                  </a:cubicBezTo>
                  <a:cubicBezTo>
                    <a:pt x="42317" y="5784"/>
                    <a:pt x="64208" y="0"/>
                    <a:pt x="91212" y="0"/>
                  </a:cubicBezTo>
                  <a:cubicBezTo>
                    <a:pt x="106091" y="0"/>
                    <a:pt x="127626" y="2739"/>
                    <a:pt x="155796" y="8223"/>
                  </a:cubicBezTo>
                  <a:lnTo>
                    <a:pt x="155796" y="51097"/>
                  </a:lnTo>
                  <a:cubicBezTo>
                    <a:pt x="134838" y="42725"/>
                    <a:pt x="115383" y="38547"/>
                    <a:pt x="97407" y="38547"/>
                  </a:cubicBezTo>
                  <a:cubicBezTo>
                    <a:pt x="72096" y="38547"/>
                    <a:pt x="59441" y="45498"/>
                    <a:pt x="59441" y="59428"/>
                  </a:cubicBezTo>
                  <a:cubicBezTo>
                    <a:pt x="59441" y="64636"/>
                    <a:pt x="61990" y="68882"/>
                    <a:pt x="67094" y="72174"/>
                  </a:cubicBezTo>
                  <a:cubicBezTo>
                    <a:pt x="71338" y="74838"/>
                    <a:pt x="83037" y="80466"/>
                    <a:pt x="102162" y="89076"/>
                  </a:cubicBezTo>
                  <a:cubicBezTo>
                    <a:pt x="129699" y="101306"/>
                    <a:pt x="148029" y="111936"/>
                    <a:pt x="157164" y="120979"/>
                  </a:cubicBezTo>
                  <a:cubicBezTo>
                    <a:pt x="168003" y="131706"/>
                    <a:pt x="173431" y="145584"/>
                    <a:pt x="173431" y="162596"/>
                  </a:cubicBezTo>
                  <a:cubicBezTo>
                    <a:pt x="173431" y="187047"/>
                    <a:pt x="162797" y="205701"/>
                    <a:pt x="141540" y="218551"/>
                  </a:cubicBezTo>
                  <a:cubicBezTo>
                    <a:pt x="124321" y="228973"/>
                    <a:pt x="101989" y="234163"/>
                    <a:pt x="74563" y="234163"/>
                  </a:cubicBezTo>
                  <a:cubicBezTo>
                    <a:pt x="51406" y="234159"/>
                    <a:pt x="28071" y="231433"/>
                    <a:pt x="4575" y="225949"/>
                  </a:cubicBezTo>
                  <a:lnTo>
                    <a:pt x="4575" y="22594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8" name="Freihandform: Form 12">
              <a:extLst>
                <a:ext uri="{FF2B5EF4-FFF2-40B4-BE49-F238E27FC236}">
                  <a16:creationId xmlns:a16="http://schemas.microsoft.com/office/drawing/2014/main" id="{E2D56054-6344-47B0-8F6F-69445743E357}"/>
                </a:ext>
              </a:extLst>
            </p:cNvPr>
            <p:cNvSpPr/>
            <p:nvPr/>
          </p:nvSpPr>
          <p:spPr>
            <a:xfrm>
              <a:off x="9990437" y="556241"/>
              <a:ext cx="63037" cy="225678"/>
            </a:xfrm>
            <a:custGeom>
              <a:avLst/>
              <a:gdLst>
                <a:gd name="connsiteX0" fmla="*/ 0 w 63037"/>
                <a:gd name="connsiteY0" fmla="*/ 0 h 225678"/>
                <a:gd name="connsiteX1" fmla="*/ 0 w 63037"/>
                <a:gd name="connsiteY1" fmla="*/ 0 h 225678"/>
                <a:gd name="connsiteX2" fmla="*/ 63037 w 63037"/>
                <a:gd name="connsiteY2" fmla="*/ 0 h 225678"/>
                <a:gd name="connsiteX3" fmla="*/ 63037 w 63037"/>
                <a:gd name="connsiteY3" fmla="*/ 225679 h 225678"/>
                <a:gd name="connsiteX4" fmla="*/ 0 w 63037"/>
                <a:gd name="connsiteY4" fmla="*/ 225679 h 2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037" h="225678">
                  <a:moveTo>
                    <a:pt x="0" y="0"/>
                  </a:moveTo>
                  <a:lnTo>
                    <a:pt x="0" y="0"/>
                  </a:lnTo>
                  <a:lnTo>
                    <a:pt x="63037" y="0"/>
                  </a:lnTo>
                  <a:lnTo>
                    <a:pt x="63037"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9" name="Freihandform: Form 13">
              <a:extLst>
                <a:ext uri="{FF2B5EF4-FFF2-40B4-BE49-F238E27FC236}">
                  <a16:creationId xmlns:a16="http://schemas.microsoft.com/office/drawing/2014/main" id="{660B7329-F235-4FA5-8893-6BA4745254D2}"/>
                </a:ext>
              </a:extLst>
            </p:cNvPr>
            <p:cNvSpPr/>
            <p:nvPr/>
          </p:nvSpPr>
          <p:spPr>
            <a:xfrm>
              <a:off x="10111287" y="556241"/>
              <a:ext cx="164274" cy="225678"/>
            </a:xfrm>
            <a:custGeom>
              <a:avLst/>
              <a:gdLst>
                <a:gd name="connsiteX0" fmla="*/ 0 w 164274"/>
                <a:gd name="connsiteY0" fmla="*/ 225679 h 225678"/>
                <a:gd name="connsiteX1" fmla="*/ 0 w 164274"/>
                <a:gd name="connsiteY1" fmla="*/ 0 h 225678"/>
                <a:gd name="connsiteX2" fmla="*/ 161674 w 164274"/>
                <a:gd name="connsiteY2" fmla="*/ 0 h 225678"/>
                <a:gd name="connsiteX3" fmla="*/ 161674 w 164274"/>
                <a:gd name="connsiteY3" fmla="*/ 40820 h 225678"/>
                <a:gd name="connsiteX4" fmla="*/ 60754 w 164274"/>
                <a:gd name="connsiteY4" fmla="*/ 40820 h 225678"/>
                <a:gd name="connsiteX5" fmla="*/ 60754 w 164274"/>
                <a:gd name="connsiteY5" fmla="*/ 91778 h 225678"/>
                <a:gd name="connsiteX6" fmla="*/ 148602 w 164274"/>
                <a:gd name="connsiteY6" fmla="*/ 91778 h 225678"/>
                <a:gd name="connsiteX7" fmla="*/ 148602 w 164274"/>
                <a:gd name="connsiteY7" fmla="*/ 129010 h 225678"/>
                <a:gd name="connsiteX8" fmla="*/ 60754 w 164274"/>
                <a:gd name="connsiteY8" fmla="*/ 129010 h 225678"/>
                <a:gd name="connsiteX9" fmla="*/ 60754 w 164274"/>
                <a:gd name="connsiteY9" fmla="*/ 182568 h 225678"/>
                <a:gd name="connsiteX10" fmla="*/ 164274 w 164274"/>
                <a:gd name="connsiteY10" fmla="*/ 182568 h 225678"/>
                <a:gd name="connsiteX11" fmla="*/ 164274 w 164274"/>
                <a:gd name="connsiteY11" fmla="*/ 225679 h 225678"/>
                <a:gd name="connsiteX12" fmla="*/ 0 w 164274"/>
                <a:gd name="connsiteY12"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274" h="225678">
                  <a:moveTo>
                    <a:pt x="0" y="225679"/>
                  </a:moveTo>
                  <a:lnTo>
                    <a:pt x="0" y="0"/>
                  </a:lnTo>
                  <a:lnTo>
                    <a:pt x="161674" y="0"/>
                  </a:lnTo>
                  <a:lnTo>
                    <a:pt x="161674" y="40820"/>
                  </a:lnTo>
                  <a:lnTo>
                    <a:pt x="60754" y="40820"/>
                  </a:lnTo>
                  <a:lnTo>
                    <a:pt x="60754" y="91778"/>
                  </a:lnTo>
                  <a:lnTo>
                    <a:pt x="148602" y="91778"/>
                  </a:lnTo>
                  <a:lnTo>
                    <a:pt x="148602" y="129010"/>
                  </a:lnTo>
                  <a:lnTo>
                    <a:pt x="60754" y="129010"/>
                  </a:lnTo>
                  <a:lnTo>
                    <a:pt x="60754" y="182568"/>
                  </a:lnTo>
                  <a:lnTo>
                    <a:pt x="164274" y="182568"/>
                  </a:lnTo>
                  <a:lnTo>
                    <a:pt x="164274"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11" name="Freihandform: Form 14">
              <a:extLst>
                <a:ext uri="{FF2B5EF4-FFF2-40B4-BE49-F238E27FC236}">
                  <a16:creationId xmlns:a16="http://schemas.microsoft.com/office/drawing/2014/main" id="{DBEA5CF2-FEA8-4001-825D-EAFB372C7F3C}"/>
                </a:ext>
              </a:extLst>
            </p:cNvPr>
            <p:cNvSpPr/>
            <p:nvPr/>
          </p:nvSpPr>
          <p:spPr>
            <a:xfrm>
              <a:off x="10316714" y="556241"/>
              <a:ext cx="274352" cy="227970"/>
            </a:xfrm>
            <a:custGeom>
              <a:avLst/>
              <a:gdLst>
                <a:gd name="connsiteX0" fmla="*/ 0 w 274352"/>
                <a:gd name="connsiteY0" fmla="*/ 225679 h 227970"/>
                <a:gd name="connsiteX1" fmla="*/ 0 w 274352"/>
                <a:gd name="connsiteY1" fmla="*/ 0 h 227970"/>
                <a:gd name="connsiteX2" fmla="*/ 81732 w 274352"/>
                <a:gd name="connsiteY2" fmla="*/ 0 h 227970"/>
                <a:gd name="connsiteX3" fmla="*/ 138514 w 274352"/>
                <a:gd name="connsiteY3" fmla="*/ 144199 h 227970"/>
                <a:gd name="connsiteX4" fmla="*/ 196720 w 274352"/>
                <a:gd name="connsiteY4" fmla="*/ 0 h 227970"/>
                <a:gd name="connsiteX5" fmla="*/ 274352 w 274352"/>
                <a:gd name="connsiteY5" fmla="*/ 0 h 227970"/>
                <a:gd name="connsiteX6" fmla="*/ 274352 w 274352"/>
                <a:gd name="connsiteY6" fmla="*/ 225679 h 227970"/>
                <a:gd name="connsiteX7" fmla="*/ 214583 w 274352"/>
                <a:gd name="connsiteY7" fmla="*/ 225679 h 227970"/>
                <a:gd name="connsiteX8" fmla="*/ 214583 w 274352"/>
                <a:gd name="connsiteY8" fmla="*/ 65893 h 227970"/>
                <a:gd name="connsiteX9" fmla="*/ 148401 w 274352"/>
                <a:gd name="connsiteY9" fmla="*/ 227971 h 227970"/>
                <a:gd name="connsiteX10" fmla="*/ 109324 w 274352"/>
                <a:gd name="connsiteY10" fmla="*/ 227971 h 227970"/>
                <a:gd name="connsiteX11" fmla="*/ 44414 w 274352"/>
                <a:gd name="connsiteY11" fmla="*/ 65893 h 227970"/>
                <a:gd name="connsiteX12" fmla="*/ 44414 w 274352"/>
                <a:gd name="connsiteY12" fmla="*/ 225679 h 227970"/>
                <a:gd name="connsiteX13" fmla="*/ 0 w 274352"/>
                <a:gd name="connsiteY13" fmla="*/ 225679 h 227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352" h="227970">
                  <a:moveTo>
                    <a:pt x="0" y="225679"/>
                  </a:moveTo>
                  <a:lnTo>
                    <a:pt x="0" y="0"/>
                  </a:lnTo>
                  <a:lnTo>
                    <a:pt x="81732" y="0"/>
                  </a:lnTo>
                  <a:lnTo>
                    <a:pt x="138514" y="144199"/>
                  </a:lnTo>
                  <a:lnTo>
                    <a:pt x="196720" y="0"/>
                  </a:lnTo>
                  <a:lnTo>
                    <a:pt x="274352" y="0"/>
                  </a:lnTo>
                  <a:lnTo>
                    <a:pt x="274352" y="225679"/>
                  </a:lnTo>
                  <a:lnTo>
                    <a:pt x="214583" y="225679"/>
                  </a:lnTo>
                  <a:lnTo>
                    <a:pt x="214583" y="65893"/>
                  </a:lnTo>
                  <a:lnTo>
                    <a:pt x="148401" y="227971"/>
                  </a:lnTo>
                  <a:lnTo>
                    <a:pt x="109324" y="227971"/>
                  </a:lnTo>
                  <a:lnTo>
                    <a:pt x="44414" y="65893"/>
                  </a:lnTo>
                  <a:lnTo>
                    <a:pt x="44414"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12" name="Freihandform: Form 15">
              <a:extLst>
                <a:ext uri="{FF2B5EF4-FFF2-40B4-BE49-F238E27FC236}">
                  <a16:creationId xmlns:a16="http://schemas.microsoft.com/office/drawing/2014/main" id="{A798A171-D1FB-4D8B-B4E6-C863ACD5512F}"/>
                </a:ext>
              </a:extLst>
            </p:cNvPr>
            <p:cNvSpPr/>
            <p:nvPr/>
          </p:nvSpPr>
          <p:spPr>
            <a:xfrm>
              <a:off x="10648889" y="556241"/>
              <a:ext cx="164291" cy="225678"/>
            </a:xfrm>
            <a:custGeom>
              <a:avLst/>
              <a:gdLst>
                <a:gd name="connsiteX0" fmla="*/ 0 w 164291"/>
                <a:gd name="connsiteY0" fmla="*/ 225679 h 225678"/>
                <a:gd name="connsiteX1" fmla="*/ 0 w 164291"/>
                <a:gd name="connsiteY1" fmla="*/ 0 h 225678"/>
                <a:gd name="connsiteX2" fmla="*/ 161674 w 164291"/>
                <a:gd name="connsiteY2" fmla="*/ 0 h 225678"/>
                <a:gd name="connsiteX3" fmla="*/ 161674 w 164291"/>
                <a:gd name="connsiteY3" fmla="*/ 40820 h 225678"/>
                <a:gd name="connsiteX4" fmla="*/ 60761 w 164291"/>
                <a:gd name="connsiteY4" fmla="*/ 40820 h 225678"/>
                <a:gd name="connsiteX5" fmla="*/ 60761 w 164291"/>
                <a:gd name="connsiteY5" fmla="*/ 91778 h 225678"/>
                <a:gd name="connsiteX6" fmla="*/ 148606 w 164291"/>
                <a:gd name="connsiteY6" fmla="*/ 91778 h 225678"/>
                <a:gd name="connsiteX7" fmla="*/ 148606 w 164291"/>
                <a:gd name="connsiteY7" fmla="*/ 129010 h 225678"/>
                <a:gd name="connsiteX8" fmla="*/ 60761 w 164291"/>
                <a:gd name="connsiteY8" fmla="*/ 129010 h 225678"/>
                <a:gd name="connsiteX9" fmla="*/ 60761 w 164291"/>
                <a:gd name="connsiteY9" fmla="*/ 182568 h 225678"/>
                <a:gd name="connsiteX10" fmla="*/ 164292 w 164291"/>
                <a:gd name="connsiteY10" fmla="*/ 182568 h 225678"/>
                <a:gd name="connsiteX11" fmla="*/ 164292 w 164291"/>
                <a:gd name="connsiteY11" fmla="*/ 225679 h 225678"/>
                <a:gd name="connsiteX12" fmla="*/ 0 w 164291"/>
                <a:gd name="connsiteY12"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291" h="225678">
                  <a:moveTo>
                    <a:pt x="0" y="225679"/>
                  </a:moveTo>
                  <a:lnTo>
                    <a:pt x="0" y="0"/>
                  </a:lnTo>
                  <a:lnTo>
                    <a:pt x="161674" y="0"/>
                  </a:lnTo>
                  <a:lnTo>
                    <a:pt x="161674" y="40820"/>
                  </a:lnTo>
                  <a:lnTo>
                    <a:pt x="60761" y="40820"/>
                  </a:lnTo>
                  <a:lnTo>
                    <a:pt x="60761" y="91778"/>
                  </a:lnTo>
                  <a:lnTo>
                    <a:pt x="148606" y="91778"/>
                  </a:lnTo>
                  <a:lnTo>
                    <a:pt x="148606" y="129010"/>
                  </a:lnTo>
                  <a:lnTo>
                    <a:pt x="60761" y="129010"/>
                  </a:lnTo>
                  <a:lnTo>
                    <a:pt x="60761" y="182568"/>
                  </a:lnTo>
                  <a:lnTo>
                    <a:pt x="164292" y="182568"/>
                  </a:lnTo>
                  <a:lnTo>
                    <a:pt x="164292"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13" name="Freihandform: Form 16">
              <a:extLst>
                <a:ext uri="{FF2B5EF4-FFF2-40B4-BE49-F238E27FC236}">
                  <a16:creationId xmlns:a16="http://schemas.microsoft.com/office/drawing/2014/main" id="{D2028709-0A72-4586-94B1-5E979C8EB94D}"/>
                </a:ext>
              </a:extLst>
            </p:cNvPr>
            <p:cNvSpPr/>
            <p:nvPr/>
          </p:nvSpPr>
          <p:spPr>
            <a:xfrm>
              <a:off x="10854660" y="556241"/>
              <a:ext cx="194974" cy="225678"/>
            </a:xfrm>
            <a:custGeom>
              <a:avLst/>
              <a:gdLst>
                <a:gd name="connsiteX0" fmla="*/ 0 w 194974"/>
                <a:gd name="connsiteY0" fmla="*/ 225679 h 225678"/>
                <a:gd name="connsiteX1" fmla="*/ 0 w 194974"/>
                <a:gd name="connsiteY1" fmla="*/ 0 h 225678"/>
                <a:gd name="connsiteX2" fmla="*/ 73060 w 194974"/>
                <a:gd name="connsiteY2" fmla="*/ 0 h 225678"/>
                <a:gd name="connsiteX3" fmla="*/ 150572 w 194974"/>
                <a:gd name="connsiteY3" fmla="*/ 151075 h 225678"/>
                <a:gd name="connsiteX4" fmla="*/ 150572 w 194974"/>
                <a:gd name="connsiteY4" fmla="*/ 0 h 225678"/>
                <a:gd name="connsiteX5" fmla="*/ 194975 w 194974"/>
                <a:gd name="connsiteY5" fmla="*/ 0 h 225678"/>
                <a:gd name="connsiteX6" fmla="*/ 194975 w 194974"/>
                <a:gd name="connsiteY6" fmla="*/ 225679 h 225678"/>
                <a:gd name="connsiteX7" fmla="*/ 123988 w 194974"/>
                <a:gd name="connsiteY7" fmla="*/ 225679 h 225678"/>
                <a:gd name="connsiteX8" fmla="*/ 44418 w 194974"/>
                <a:gd name="connsiteY8" fmla="*/ 72572 h 225678"/>
                <a:gd name="connsiteX9" fmla="*/ 44418 w 194974"/>
                <a:gd name="connsiteY9" fmla="*/ 225679 h 225678"/>
                <a:gd name="connsiteX10" fmla="*/ 0 w 194974"/>
                <a:gd name="connsiteY10" fmla="*/ 225679 h 22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74" h="225678">
                  <a:moveTo>
                    <a:pt x="0" y="225679"/>
                  </a:moveTo>
                  <a:lnTo>
                    <a:pt x="0" y="0"/>
                  </a:lnTo>
                  <a:lnTo>
                    <a:pt x="73060" y="0"/>
                  </a:lnTo>
                  <a:lnTo>
                    <a:pt x="150572" y="151075"/>
                  </a:lnTo>
                  <a:lnTo>
                    <a:pt x="150572" y="0"/>
                  </a:lnTo>
                  <a:lnTo>
                    <a:pt x="194975" y="0"/>
                  </a:lnTo>
                  <a:lnTo>
                    <a:pt x="194975" y="225679"/>
                  </a:lnTo>
                  <a:lnTo>
                    <a:pt x="123988" y="225679"/>
                  </a:lnTo>
                  <a:lnTo>
                    <a:pt x="44418" y="72572"/>
                  </a:lnTo>
                  <a:lnTo>
                    <a:pt x="44418" y="225679"/>
                  </a:lnTo>
                  <a:lnTo>
                    <a:pt x="0" y="22567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sp>
          <p:nvSpPr>
            <p:cNvPr id="15" name="Freihandform: Form 17">
              <a:extLst>
                <a:ext uri="{FF2B5EF4-FFF2-40B4-BE49-F238E27FC236}">
                  <a16:creationId xmlns:a16="http://schemas.microsoft.com/office/drawing/2014/main" id="{D0F50064-5AF6-47BE-966E-59ADA4EA8C85}"/>
                </a:ext>
              </a:extLst>
            </p:cNvPr>
            <p:cNvSpPr/>
            <p:nvPr/>
          </p:nvSpPr>
          <p:spPr>
            <a:xfrm>
              <a:off x="11089830" y="552320"/>
              <a:ext cx="173413" cy="234163"/>
            </a:xfrm>
            <a:custGeom>
              <a:avLst/>
              <a:gdLst>
                <a:gd name="connsiteX0" fmla="*/ 4555 w 173413"/>
                <a:gd name="connsiteY0" fmla="*/ 225949 h 234163"/>
                <a:gd name="connsiteX1" fmla="*/ 4555 w 173413"/>
                <a:gd name="connsiteY1" fmla="*/ 181380 h 234163"/>
                <a:gd name="connsiteX2" fmla="*/ 71909 w 173413"/>
                <a:gd name="connsiteY2" fmla="*/ 193357 h 234163"/>
                <a:gd name="connsiteX3" fmla="*/ 112337 w 173413"/>
                <a:gd name="connsiteY3" fmla="*/ 171988 h 234163"/>
                <a:gd name="connsiteX4" fmla="*/ 106622 w 173413"/>
                <a:gd name="connsiteY4" fmla="*/ 158604 h 234163"/>
                <a:gd name="connsiteX5" fmla="*/ 75585 w 173413"/>
                <a:gd name="connsiteY5" fmla="*/ 142653 h 234163"/>
                <a:gd name="connsiteX6" fmla="*/ 17496 w 173413"/>
                <a:gd name="connsiteY6" fmla="*/ 111415 h 234163"/>
                <a:gd name="connsiteX7" fmla="*/ 0 w 173413"/>
                <a:gd name="connsiteY7" fmla="*/ 68226 h 234163"/>
                <a:gd name="connsiteX8" fmla="*/ 25503 w 173413"/>
                <a:gd name="connsiteY8" fmla="*/ 17371 h 234163"/>
                <a:gd name="connsiteX9" fmla="*/ 91217 w 173413"/>
                <a:gd name="connsiteY9" fmla="*/ 0 h 234163"/>
                <a:gd name="connsiteX10" fmla="*/ 150206 w 173413"/>
                <a:gd name="connsiteY10" fmla="*/ 7255 h 234163"/>
                <a:gd name="connsiteX11" fmla="*/ 155781 w 173413"/>
                <a:gd name="connsiteY11" fmla="*/ 8223 h 234163"/>
                <a:gd name="connsiteX12" fmla="*/ 155781 w 173413"/>
                <a:gd name="connsiteY12" fmla="*/ 51097 h 234163"/>
                <a:gd name="connsiteX13" fmla="*/ 97237 w 173413"/>
                <a:gd name="connsiteY13" fmla="*/ 38547 h 234163"/>
                <a:gd name="connsiteX14" fmla="*/ 59443 w 173413"/>
                <a:gd name="connsiteY14" fmla="*/ 59428 h 234163"/>
                <a:gd name="connsiteX15" fmla="*/ 67070 w 173413"/>
                <a:gd name="connsiteY15" fmla="*/ 72174 h 234163"/>
                <a:gd name="connsiteX16" fmla="*/ 102304 w 173413"/>
                <a:gd name="connsiteY16" fmla="*/ 89076 h 234163"/>
                <a:gd name="connsiteX17" fmla="*/ 157140 w 173413"/>
                <a:gd name="connsiteY17" fmla="*/ 120979 h 234163"/>
                <a:gd name="connsiteX18" fmla="*/ 173414 w 173413"/>
                <a:gd name="connsiteY18" fmla="*/ 162596 h 234163"/>
                <a:gd name="connsiteX19" fmla="*/ 141690 w 173413"/>
                <a:gd name="connsiteY19" fmla="*/ 218551 h 234163"/>
                <a:gd name="connsiteX20" fmla="*/ 74561 w 173413"/>
                <a:gd name="connsiteY20" fmla="*/ 234163 h 234163"/>
                <a:gd name="connsiteX21" fmla="*/ 4555 w 173413"/>
                <a:gd name="connsiteY21" fmla="*/ 225949 h 234163"/>
                <a:gd name="connsiteX22" fmla="*/ 4555 w 173413"/>
                <a:gd name="connsiteY22" fmla="*/ 225949 h 23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413" h="234163">
                  <a:moveTo>
                    <a:pt x="4555" y="225949"/>
                  </a:moveTo>
                  <a:lnTo>
                    <a:pt x="4555" y="181380"/>
                  </a:lnTo>
                  <a:cubicBezTo>
                    <a:pt x="29709" y="189363"/>
                    <a:pt x="52151" y="193357"/>
                    <a:pt x="71909" y="193357"/>
                  </a:cubicBezTo>
                  <a:cubicBezTo>
                    <a:pt x="98868" y="193357"/>
                    <a:pt x="112337" y="186231"/>
                    <a:pt x="112337" y="171988"/>
                  </a:cubicBezTo>
                  <a:cubicBezTo>
                    <a:pt x="112337" y="166679"/>
                    <a:pt x="110426" y="162218"/>
                    <a:pt x="106622" y="158604"/>
                  </a:cubicBezTo>
                  <a:cubicBezTo>
                    <a:pt x="102581" y="154773"/>
                    <a:pt x="92238" y="149459"/>
                    <a:pt x="75585" y="142653"/>
                  </a:cubicBezTo>
                  <a:cubicBezTo>
                    <a:pt x="45976" y="130544"/>
                    <a:pt x="26590" y="120133"/>
                    <a:pt x="17496" y="111415"/>
                  </a:cubicBezTo>
                  <a:cubicBezTo>
                    <a:pt x="5828" y="100146"/>
                    <a:pt x="0" y="85754"/>
                    <a:pt x="0" y="68226"/>
                  </a:cubicBezTo>
                  <a:cubicBezTo>
                    <a:pt x="0" y="46008"/>
                    <a:pt x="8485" y="29058"/>
                    <a:pt x="25503" y="17371"/>
                  </a:cubicBezTo>
                  <a:cubicBezTo>
                    <a:pt x="42288" y="5784"/>
                    <a:pt x="64206" y="0"/>
                    <a:pt x="91217" y="0"/>
                  </a:cubicBezTo>
                  <a:cubicBezTo>
                    <a:pt x="106397" y="0"/>
                    <a:pt x="126075" y="2411"/>
                    <a:pt x="150206" y="7255"/>
                  </a:cubicBezTo>
                  <a:lnTo>
                    <a:pt x="155781" y="8223"/>
                  </a:lnTo>
                  <a:lnTo>
                    <a:pt x="155781" y="51097"/>
                  </a:lnTo>
                  <a:cubicBezTo>
                    <a:pt x="134819" y="42725"/>
                    <a:pt x="115307" y="38547"/>
                    <a:pt x="97237" y="38547"/>
                  </a:cubicBezTo>
                  <a:cubicBezTo>
                    <a:pt x="72019" y="38547"/>
                    <a:pt x="59443" y="45498"/>
                    <a:pt x="59443" y="59428"/>
                  </a:cubicBezTo>
                  <a:cubicBezTo>
                    <a:pt x="59443" y="64636"/>
                    <a:pt x="61981" y="68882"/>
                    <a:pt x="67070" y="72174"/>
                  </a:cubicBezTo>
                  <a:cubicBezTo>
                    <a:pt x="71118" y="74738"/>
                    <a:pt x="82862" y="80367"/>
                    <a:pt x="102304" y="89076"/>
                  </a:cubicBezTo>
                  <a:cubicBezTo>
                    <a:pt x="129635" y="101306"/>
                    <a:pt x="147928" y="111936"/>
                    <a:pt x="157140" y="120979"/>
                  </a:cubicBezTo>
                  <a:cubicBezTo>
                    <a:pt x="167996" y="131706"/>
                    <a:pt x="173414" y="145584"/>
                    <a:pt x="173414" y="162596"/>
                  </a:cubicBezTo>
                  <a:cubicBezTo>
                    <a:pt x="173414" y="187047"/>
                    <a:pt x="162838" y="205701"/>
                    <a:pt x="141690" y="218551"/>
                  </a:cubicBezTo>
                  <a:cubicBezTo>
                    <a:pt x="124366" y="228973"/>
                    <a:pt x="101982" y="234163"/>
                    <a:pt x="74561" y="234163"/>
                  </a:cubicBezTo>
                  <a:cubicBezTo>
                    <a:pt x="51378" y="234159"/>
                    <a:pt x="28035" y="231433"/>
                    <a:pt x="4555" y="225949"/>
                  </a:cubicBezTo>
                  <a:lnTo>
                    <a:pt x="4555" y="225949"/>
                  </a:lnTo>
                  <a:close/>
                </a:path>
              </a:pathLst>
            </a:custGeom>
            <a:grpFill/>
            <a:ln w="2153" cap="flat">
              <a:noFill/>
              <a:prstDash val="solid"/>
              <a:miter/>
            </a:ln>
          </p:spPr>
          <p:txBody>
            <a:bodyPr rtlCol="0" anchor="ctr"/>
            <a:lstStyle/>
            <a:p>
              <a:pPr marL="0" marR="0" lvl="0" indent="0" algn="l" defTabSz="914400" rtl="0" eaLnBrk="1" fontAlgn="base" latinLnBrk="0" hangingPunct="1">
                <a:lnSpc>
                  <a:spcPct val="100000"/>
                </a:lnSpc>
                <a:spcBef>
                  <a:spcPct val="50000"/>
                </a:spcBef>
                <a:spcAft>
                  <a:spcPct val="0"/>
                </a:spcAft>
                <a:buClrTx/>
                <a:buSzTx/>
                <a:buFontTx/>
                <a:buNone/>
                <a:tabLst/>
                <a:defRPr/>
              </a:pPr>
              <a:endParaRPr kumimoji="0" lang="en-US" sz="1800" b="0" i="0" u="none" strike="noStrike" kern="1200" cap="none" spc="0" normalizeH="0" baseline="0" noProof="0">
                <a:ln>
                  <a:noFill/>
                </a:ln>
                <a:solidFill>
                  <a:srgbClr val="000028"/>
                </a:solidFill>
                <a:effectLst/>
                <a:uLnTx/>
                <a:uFillTx/>
                <a:latin typeface="Arial" pitchFamily="34" charset="0"/>
                <a:ea typeface="ＭＳ Ｐゴシック" charset="-128"/>
                <a:cs typeface="+mn-cs"/>
              </a:endParaRPr>
            </a:p>
          </p:txBody>
        </p:sp>
      </p:grpSp>
    </p:spTree>
    <p:extLst>
      <p:ext uri="{BB962C8B-B14F-4D97-AF65-F5344CB8AC3E}">
        <p14:creationId xmlns:p14="http://schemas.microsoft.com/office/powerpoint/2010/main" val="750657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custDataLst>
              <p:tags r:id="rId2"/>
            </p:custDataLst>
          </p:nvPr>
        </p:nvPicPr>
        <p:blipFill>
          <a:blip r:embed="rId8">
            <a:extLst>
              <a:ext uri="{28A0092B-C50C-407E-A947-70E740481C1C}">
                <a14:useLocalDpi xmlns:a14="http://schemas.microsoft.com/office/drawing/2010/main" val="0"/>
              </a:ext>
            </a:extLst>
          </a:blip>
          <a:srcRect/>
          <a:stretch>
            <a:fillRect/>
          </a:stretch>
        </p:blipFill>
        <p:spPr bwMode="auto">
          <a:xfrm>
            <a:off x="7013575" y="1619250"/>
            <a:ext cx="4991100" cy="4378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9218" name="Objekt 1" hidden="1"/>
          <p:cNvGraphicFramePr>
            <a:graphicFrameLocks noChangeAspect="1"/>
          </p:cNvGraphicFramePr>
          <p:nvPr>
            <p:custDataLst>
              <p:tags r:id="rId3"/>
            </p:custDataLst>
            <p:extLst>
              <p:ext uri="{D42A27DB-BD31-4B8C-83A1-F6EECF244321}">
                <p14:modId xmlns:p14="http://schemas.microsoft.com/office/powerpoint/2010/main" val="182481956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67978" name="think-cell Slide" r:id="rId9" imgW="270" imgH="270" progId="TCLayout.ActiveDocument.1">
                  <p:embed/>
                </p:oleObj>
              </mc:Choice>
              <mc:Fallback>
                <p:oleObj name="think-cell Slide" r:id="rId9" imgW="270" imgH="270" progId="TCLayout.ActiveDocument.1">
                  <p:embed/>
                  <p:pic>
                    <p:nvPicPr>
                      <p:cNvPr id="9218" name="Objek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220" name="Titel 3"/>
          <p:cNvSpPr>
            <a:spLocks noGrp="1"/>
          </p:cNvSpPr>
          <p:nvPr>
            <p:ph type="title"/>
            <p:custDataLst>
              <p:tags r:id="rId4"/>
            </p:custDataLst>
          </p:nvPr>
        </p:nvSpPr>
        <p:spPr>
          <a:ln/>
        </p:spPr>
        <p:txBody>
          <a:bodyPr rIns="1836000"/>
          <a:lstStyle/>
          <a:p>
            <a:pPr>
              <a:lnSpc>
                <a:spcPct val="80000"/>
              </a:lnSpc>
              <a:spcBef>
                <a:spcPts val="0"/>
              </a:spcBef>
            </a:pPr>
            <a:r>
              <a:rPr lang="en-US" dirty="0">
                <a:solidFill>
                  <a:schemeClr val="tx1"/>
                </a:solidFill>
              </a:rPr>
              <a:t>What is meant by a "digital twin</a:t>
            </a:r>
            <a:r>
              <a:rPr lang="de-DE" dirty="0">
                <a:solidFill>
                  <a:schemeClr val="tx1"/>
                </a:solidFill>
              </a:rPr>
              <a:t>“ ?</a:t>
            </a:r>
          </a:p>
        </p:txBody>
      </p:sp>
      <p:sp>
        <p:nvSpPr>
          <p:cNvPr id="2" name="Textfeld 1"/>
          <p:cNvSpPr txBox="1">
            <a:spLocks noChangeAspect="1"/>
          </p:cNvSpPr>
          <p:nvPr>
            <p:custDataLst>
              <p:tags r:id="rId5"/>
            </p:custDataLst>
          </p:nvPr>
        </p:nvSpPr>
        <p:spPr>
          <a:xfrm>
            <a:off x="693683" y="1282534"/>
            <a:ext cx="11346144" cy="5358898"/>
          </a:xfrm>
          <a:prstGeom prst="rect">
            <a:avLst/>
          </a:prstGeom>
          <a:solidFill>
            <a:schemeClr val="bg1"/>
          </a:solidFill>
          <a:ln>
            <a:noFill/>
          </a:ln>
        </p:spPr>
        <p:txBody>
          <a:bodyPr wrap="square" rtlCol="0">
            <a:noAutofit/>
          </a:bodyPr>
          <a:lstStyle/>
          <a:p>
            <a:endParaRPr lang="de-DE" sz="1700" b="1" dirty="0">
              <a:solidFill>
                <a:schemeClr val="tx1"/>
              </a:solidFill>
              <a:latin typeface="Calibri" panose="020F0502020204030204" pitchFamily="34" charset="0"/>
            </a:endParaRPr>
          </a:p>
          <a:p>
            <a:r>
              <a:rPr lang="de-DE" b="1" dirty="0">
                <a:solidFill>
                  <a:schemeClr val="tx1"/>
                </a:solidFill>
                <a:latin typeface="Calibri" panose="020F0502020204030204" pitchFamily="34" charset="0"/>
              </a:rPr>
              <a:t>The digital </a:t>
            </a:r>
            <a:r>
              <a:rPr lang="de-DE" b="1" dirty="0" err="1">
                <a:solidFill>
                  <a:schemeClr val="tx1"/>
                </a:solidFill>
                <a:latin typeface="Calibri" panose="020F0502020204030204" pitchFamily="34" charset="0"/>
              </a:rPr>
              <a:t>twin</a:t>
            </a:r>
            <a:r>
              <a:rPr lang="de-DE" b="1" dirty="0">
                <a:solidFill>
                  <a:schemeClr val="tx1"/>
                </a:solidFill>
                <a:latin typeface="Calibri" panose="020F0502020204030204" pitchFamily="34" charset="0"/>
              </a:rPr>
              <a:t> </a:t>
            </a:r>
            <a:r>
              <a:rPr lang="de-DE" b="1" dirty="0" err="1">
                <a:solidFill>
                  <a:schemeClr val="tx1"/>
                </a:solidFill>
                <a:latin typeface="Calibri" panose="020F0502020204030204" pitchFamily="34" charset="0"/>
              </a:rPr>
              <a:t>shares</a:t>
            </a:r>
            <a:r>
              <a:rPr lang="de-DE" b="1" dirty="0">
                <a:solidFill>
                  <a:schemeClr val="tx1"/>
                </a:solidFill>
                <a:latin typeface="Calibri" panose="020F0502020204030204" pitchFamily="34" charset="0"/>
              </a:rPr>
              <a:t> 3 </a:t>
            </a:r>
            <a:r>
              <a:rPr lang="de-DE" b="1" dirty="0" err="1">
                <a:solidFill>
                  <a:schemeClr val="tx1"/>
                </a:solidFill>
                <a:latin typeface="Calibri" panose="020F0502020204030204" pitchFamily="34" charset="0"/>
              </a:rPr>
              <a:t>elements</a:t>
            </a:r>
            <a:r>
              <a:rPr lang="de-DE" b="1" dirty="0">
                <a:solidFill>
                  <a:schemeClr val="tx1"/>
                </a:solidFill>
                <a:latin typeface="Calibri" panose="020F0502020204030204" pitchFamily="34" charset="0"/>
              </a:rPr>
              <a:t>:</a:t>
            </a:r>
          </a:p>
          <a:p>
            <a:pPr marL="285750" indent="-285750">
              <a:buFontTx/>
              <a:buChar char="-"/>
            </a:pPr>
            <a:r>
              <a:rPr lang="de-DE" sz="1600" dirty="0">
                <a:solidFill>
                  <a:schemeClr val="tx1"/>
                </a:solidFill>
                <a:latin typeface="Calibri" panose="020F0502020204030204" pitchFamily="34" charset="0"/>
              </a:rPr>
              <a:t>The real plant </a:t>
            </a:r>
            <a:r>
              <a:rPr lang="de-DE" sz="1600" dirty="0" err="1">
                <a:solidFill>
                  <a:schemeClr val="tx1"/>
                </a:solidFill>
                <a:latin typeface="Calibri" panose="020F0502020204030204" pitchFamily="34" charset="0"/>
              </a:rPr>
              <a:t>with</a:t>
            </a:r>
            <a:r>
              <a:rPr lang="de-DE" sz="1600" dirty="0">
                <a:solidFill>
                  <a:schemeClr val="tx1"/>
                </a:solidFill>
                <a:latin typeface="Calibri" panose="020F0502020204030204" pitchFamily="34" charset="0"/>
              </a:rPr>
              <a:t> real time </a:t>
            </a:r>
            <a:r>
              <a:rPr lang="de-DE" sz="1600" dirty="0" err="1">
                <a:solidFill>
                  <a:schemeClr val="tx1"/>
                </a:solidFill>
                <a:latin typeface="Calibri" panose="020F0502020204030204" pitchFamily="34" charset="0"/>
              </a:rPr>
              <a:t>data</a:t>
            </a:r>
            <a:r>
              <a:rPr lang="de-DE" sz="1600" dirty="0">
                <a:solidFill>
                  <a:schemeClr val="tx1"/>
                </a:solidFill>
                <a:latin typeface="Calibri" panose="020F0502020204030204" pitchFamily="34" charset="0"/>
              </a:rPr>
              <a:t> and operational </a:t>
            </a:r>
            <a:r>
              <a:rPr lang="de-DE" sz="1600" dirty="0" err="1">
                <a:solidFill>
                  <a:schemeClr val="tx1"/>
                </a:solidFill>
                <a:latin typeface="Calibri" panose="020F0502020204030204" pitchFamily="34" charset="0"/>
              </a:rPr>
              <a:t>data</a:t>
            </a:r>
            <a:endParaRPr lang="de-DE" sz="1600" dirty="0">
              <a:solidFill>
                <a:schemeClr val="tx1"/>
              </a:solidFill>
              <a:latin typeface="Calibri" panose="020F0502020204030204" pitchFamily="34" charset="0"/>
            </a:endParaRPr>
          </a:p>
          <a:p>
            <a:pPr marL="285750" indent="-285750">
              <a:buFontTx/>
              <a:buChar char="-"/>
            </a:pPr>
            <a:r>
              <a:rPr lang="de-DE" sz="1600" dirty="0">
                <a:solidFill>
                  <a:schemeClr val="tx1"/>
                </a:solidFill>
                <a:latin typeface="Calibri" panose="020F0502020204030204" pitchFamily="34" charset="0"/>
              </a:rPr>
              <a:t>The virtual </a:t>
            </a:r>
            <a:r>
              <a:rPr lang="de-DE" sz="1600" dirty="0" err="1">
                <a:solidFill>
                  <a:schemeClr val="tx1"/>
                </a:solidFill>
                <a:latin typeface="Calibri" panose="020F0502020204030204" pitchFamily="34" charset="0"/>
              </a:rPr>
              <a:t>twin</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with</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context</a:t>
            </a:r>
            <a:r>
              <a:rPr lang="de-DE" sz="1600" dirty="0">
                <a:solidFill>
                  <a:schemeClr val="tx1"/>
                </a:solidFill>
                <a:latin typeface="Calibri" panose="020F0502020204030204" pitchFamily="34" charset="0"/>
              </a:rPr>
              <a:t> and </a:t>
            </a:r>
            <a:r>
              <a:rPr lang="de-DE" sz="1600" dirty="0" err="1">
                <a:solidFill>
                  <a:schemeClr val="tx1"/>
                </a:solidFill>
                <a:latin typeface="Calibri" panose="020F0502020204030204" pitchFamily="34" charset="0"/>
              </a:rPr>
              <a:t>characteristic</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data</a:t>
            </a:r>
            <a:endParaRPr lang="de-DE" sz="1600" dirty="0">
              <a:solidFill>
                <a:schemeClr val="tx1"/>
              </a:solidFill>
              <a:latin typeface="Calibri" panose="020F0502020204030204" pitchFamily="34" charset="0"/>
            </a:endParaRPr>
          </a:p>
          <a:p>
            <a:pPr marL="285750" indent="-285750">
              <a:buFontTx/>
              <a:buChar char="-"/>
            </a:pPr>
            <a:r>
              <a:rPr lang="de-DE" sz="1600" dirty="0">
                <a:solidFill>
                  <a:schemeClr val="tx1"/>
                </a:solidFill>
                <a:latin typeface="Calibri" panose="020F0502020204030204" pitchFamily="34" charset="0"/>
              </a:rPr>
              <a:t>And an </a:t>
            </a:r>
            <a:r>
              <a:rPr lang="de-DE" sz="1600" dirty="0" err="1">
                <a:solidFill>
                  <a:schemeClr val="tx1"/>
                </a:solidFill>
                <a:latin typeface="Calibri" panose="020F0502020204030204" pitchFamily="34" charset="0"/>
              </a:rPr>
              <a:t>information</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model</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which</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is</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used</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to</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integrate</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the</a:t>
            </a:r>
            <a:r>
              <a:rPr lang="de-DE" sz="1600" dirty="0">
                <a:solidFill>
                  <a:schemeClr val="tx1"/>
                </a:solidFill>
                <a:latin typeface="Calibri" panose="020F0502020204030204" pitchFamily="34" charset="0"/>
              </a:rPr>
              <a:t> </a:t>
            </a:r>
            <a:r>
              <a:rPr lang="de-DE" sz="1600" dirty="0" err="1">
                <a:solidFill>
                  <a:schemeClr val="tx1"/>
                </a:solidFill>
                <a:latin typeface="Calibri" panose="020F0502020204030204" pitchFamily="34" charset="0"/>
              </a:rPr>
              <a:t>two</a:t>
            </a:r>
            <a:endParaRPr lang="de-DE" sz="1600" dirty="0">
              <a:solidFill>
                <a:schemeClr val="tx1"/>
              </a:solidFill>
              <a:latin typeface="Calibri" panose="020F0502020204030204" pitchFamily="34" charset="0"/>
            </a:endParaRPr>
          </a:p>
          <a:p>
            <a:pPr algn="l"/>
            <a:endParaRPr lang="de-DE" sz="1400" dirty="0">
              <a:solidFill>
                <a:schemeClr val="tx1"/>
              </a:solidFill>
              <a:latin typeface="Calibri" panose="020F0502020204030204" pitchFamily="34" charset="0"/>
            </a:endParaRPr>
          </a:p>
          <a:p>
            <a:r>
              <a:rPr lang="en-US" b="1" dirty="0">
                <a:solidFill>
                  <a:schemeClr val="tx1"/>
                </a:solidFill>
              </a:rPr>
              <a:t>The digital plant twin is an image of the entire plant and is used throughout the entire life cycle.</a:t>
            </a:r>
          </a:p>
          <a:p>
            <a:endParaRPr lang="de-DE" sz="1400" dirty="0">
              <a:solidFill>
                <a:schemeClr val="tx1"/>
              </a:solidFill>
              <a:latin typeface="Calibri" panose="020F0502020204030204" pitchFamily="34" charset="0"/>
            </a:endParaRPr>
          </a:p>
          <a:p>
            <a:r>
              <a:rPr lang="de-DE" dirty="0">
                <a:solidFill>
                  <a:schemeClr val="tx1"/>
                </a:solidFill>
                <a:latin typeface="Calibri" panose="020F0502020204030204" pitchFamily="34" charset="0"/>
              </a:rPr>
              <a:t>digitale </a:t>
            </a:r>
            <a:r>
              <a:rPr lang="de-DE" dirty="0" err="1">
                <a:solidFill>
                  <a:schemeClr val="tx1"/>
                </a:solidFill>
                <a:latin typeface="Calibri" panose="020F0502020204030204" pitchFamily="34" charset="0"/>
              </a:rPr>
              <a:t>twin</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uses</a:t>
            </a:r>
            <a:r>
              <a:rPr lang="de-DE" dirty="0">
                <a:solidFill>
                  <a:schemeClr val="tx1"/>
                </a:solidFill>
                <a:latin typeface="Calibri" panose="020F0502020204030204" pitchFamily="34" charset="0"/>
              </a:rPr>
              <a:t> real </a:t>
            </a:r>
            <a:r>
              <a:rPr lang="de-DE" dirty="0" err="1">
                <a:solidFill>
                  <a:schemeClr val="tx1"/>
                </a:solidFill>
                <a:latin typeface="Calibri" panose="020F0502020204030204" pitchFamily="34" charset="0"/>
              </a:rPr>
              <a:t>data</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from</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the</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process</a:t>
            </a:r>
            <a:endParaRPr lang="de-DE" dirty="0">
              <a:solidFill>
                <a:schemeClr val="tx1"/>
              </a:solidFill>
              <a:latin typeface="Calibri" panose="020F0502020204030204" pitchFamily="34" charset="0"/>
            </a:endParaRPr>
          </a:p>
          <a:p>
            <a:r>
              <a:rPr lang="de-DE" dirty="0">
                <a:solidFill>
                  <a:schemeClr val="tx1"/>
                </a:solidFill>
                <a:latin typeface="Calibri" panose="020F0502020204030204" pitchFamily="34" charset="0"/>
              </a:rPr>
              <a:t>digitale </a:t>
            </a:r>
            <a:r>
              <a:rPr lang="de-DE" dirty="0" err="1">
                <a:solidFill>
                  <a:schemeClr val="tx1"/>
                </a:solidFill>
                <a:latin typeface="Calibri" panose="020F0502020204030204" pitchFamily="34" charset="0"/>
              </a:rPr>
              <a:t>twin</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is</a:t>
            </a:r>
            <a:r>
              <a:rPr lang="de-DE" dirty="0">
                <a:solidFill>
                  <a:schemeClr val="tx1"/>
                </a:solidFill>
                <a:latin typeface="Calibri" panose="020F0502020204030204" pitchFamily="34" charset="0"/>
              </a:rPr>
              <a:t> a </a:t>
            </a:r>
            <a:r>
              <a:rPr lang="de-DE" dirty="0" err="1">
                <a:solidFill>
                  <a:schemeClr val="tx1"/>
                </a:solidFill>
                <a:latin typeface="Calibri" panose="020F0502020204030204" pitchFamily="34" charset="0"/>
              </a:rPr>
              <a:t>component</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of</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the</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integrated</a:t>
            </a:r>
            <a:r>
              <a:rPr lang="de-DE" dirty="0">
                <a:solidFill>
                  <a:schemeClr val="tx1"/>
                </a:solidFill>
                <a:latin typeface="Calibri" panose="020F0502020204030204" pitchFamily="34" charset="0"/>
              </a:rPr>
              <a:t> Engineering</a:t>
            </a:r>
          </a:p>
          <a:p>
            <a:r>
              <a:rPr lang="de-DE" dirty="0">
                <a:solidFill>
                  <a:schemeClr val="tx1"/>
                </a:solidFill>
                <a:latin typeface="Calibri" panose="020F0502020204030204" pitchFamily="34" charset="0"/>
              </a:rPr>
              <a:t>digitale </a:t>
            </a:r>
            <a:r>
              <a:rPr lang="de-DE" dirty="0" err="1">
                <a:solidFill>
                  <a:schemeClr val="tx1"/>
                </a:solidFill>
                <a:latin typeface="Calibri" panose="020F0502020204030204" pitchFamily="34" charset="0"/>
              </a:rPr>
              <a:t>twin</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is</a:t>
            </a:r>
            <a:r>
              <a:rPr lang="de-DE" dirty="0">
                <a:solidFill>
                  <a:schemeClr val="tx1"/>
                </a:solidFill>
                <a:latin typeface="Calibri" panose="020F0502020204030204" pitchFamily="34" charset="0"/>
              </a:rPr>
              <a:t> a </a:t>
            </a:r>
            <a:r>
              <a:rPr lang="de-DE" dirty="0" err="1">
                <a:solidFill>
                  <a:schemeClr val="tx1"/>
                </a:solidFill>
                <a:latin typeface="Calibri" panose="020F0502020204030204" pitchFamily="34" charset="0"/>
              </a:rPr>
              <a:t>component</a:t>
            </a:r>
            <a:r>
              <a:rPr lang="de-DE" dirty="0">
                <a:solidFill>
                  <a:schemeClr val="tx1"/>
                </a:solidFill>
                <a:latin typeface="Calibri" panose="020F0502020204030204" pitchFamily="34" charset="0"/>
              </a:rPr>
              <a:t> </a:t>
            </a:r>
            <a:r>
              <a:rPr lang="de-DE" dirty="0" err="1">
                <a:solidFill>
                  <a:schemeClr val="tx1"/>
                </a:solidFill>
                <a:latin typeface="Calibri" panose="020F0502020204030204" pitchFamily="34" charset="0"/>
              </a:rPr>
              <a:t>of</a:t>
            </a:r>
            <a:r>
              <a:rPr lang="de-DE" dirty="0">
                <a:solidFill>
                  <a:schemeClr val="tx1"/>
                </a:solidFill>
                <a:latin typeface="Calibri" panose="020F0502020204030204" pitchFamily="34" charset="0"/>
              </a:rPr>
              <a:t> Integrated Operation</a:t>
            </a:r>
          </a:p>
          <a:p>
            <a:endParaRPr lang="de-DE" dirty="0">
              <a:solidFill>
                <a:schemeClr val="tx1"/>
              </a:solidFill>
              <a:latin typeface="Calibri" panose="020F0502020204030204" pitchFamily="34" charset="0"/>
            </a:endParaRPr>
          </a:p>
          <a:p>
            <a:r>
              <a:rPr lang="en-US" b="1" dirty="0">
                <a:solidFill>
                  <a:schemeClr val="tx1"/>
                </a:solidFill>
              </a:rPr>
              <a:t>The digital plant twin provides a decision support over the entire life cycle</a:t>
            </a:r>
            <a:endParaRPr lang="de-DE" dirty="0">
              <a:solidFill>
                <a:schemeClr val="tx1"/>
              </a:solidFill>
              <a:latin typeface="Calibri" panose="020F0502020204030204" pitchFamily="34" charset="0"/>
            </a:endParaRPr>
          </a:p>
          <a:p>
            <a:pPr algn="l"/>
            <a:endParaRPr lang="de-DE" sz="17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208248013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kt 17" hidden="1">
            <a:extLst>
              <a:ext uri="{FF2B5EF4-FFF2-40B4-BE49-F238E27FC236}">
                <a16:creationId xmlns:a16="http://schemas.microsoft.com/office/drawing/2014/main" id="{DF944642-C793-4053-B918-5ACD5ABA894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69002" name="think-cell Folie" r:id="rId5" imgW="306" imgH="306" progId="TCLayout.ActiveDocument.1">
                  <p:embed/>
                </p:oleObj>
              </mc:Choice>
              <mc:Fallback>
                <p:oleObj name="think-cell Folie" r:id="rId5" imgW="306" imgH="306" progId="TCLayout.ActiveDocument.1">
                  <p:embed/>
                  <p:pic>
                    <p:nvPicPr>
                      <p:cNvPr id="18" name="Objekt 17" hidden="1">
                        <a:extLst>
                          <a:ext uri="{FF2B5EF4-FFF2-40B4-BE49-F238E27FC236}">
                            <a16:creationId xmlns:a16="http://schemas.microsoft.com/office/drawing/2014/main" id="{DF944642-C793-4053-B918-5ACD5ABA894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 name="Fußzeilenplatzhalter 2">
            <a:extLst>
              <a:ext uri="{FF2B5EF4-FFF2-40B4-BE49-F238E27FC236}">
                <a16:creationId xmlns:a16="http://schemas.microsoft.com/office/drawing/2014/main" id="{874E3DC3-216C-4A32-BC6C-131A7FF4F231}"/>
              </a:ext>
            </a:extLst>
          </p:cNvPr>
          <p:cNvSpPr>
            <a:spLocks noGrp="1"/>
          </p:cNvSpPr>
          <p:nvPr>
            <p:ph type="ftr" sz="quarter" idx="10"/>
          </p:nvPr>
        </p:nvSpPr>
        <p:spPr/>
        <p:txBody>
          <a:bodyPr/>
          <a:lstStyle/>
          <a:p>
            <a:pPr fontAlgn="auto">
              <a:spcBef>
                <a:spcPts val="0"/>
              </a:spcBef>
              <a:spcAft>
                <a:spcPts val="0"/>
              </a:spcAft>
            </a:pPr>
            <a:r>
              <a:rPr lang="en-US" dirty="0">
                <a:solidFill>
                  <a:prstClr val="white"/>
                </a:solidFill>
                <a:latin typeface="Arial"/>
                <a:ea typeface="+mn-ea"/>
              </a:rPr>
              <a:t>Unrestricted | © Siemens 2021 | September 2021</a:t>
            </a:r>
          </a:p>
        </p:txBody>
      </p:sp>
      <p:sp>
        <p:nvSpPr>
          <p:cNvPr id="4" name="Foliennummernplatzhalter 3">
            <a:extLst>
              <a:ext uri="{FF2B5EF4-FFF2-40B4-BE49-F238E27FC236}">
                <a16:creationId xmlns:a16="http://schemas.microsoft.com/office/drawing/2014/main" id="{AFF45759-2CB8-49B0-B226-AC58B07FA36C}"/>
              </a:ext>
            </a:extLst>
          </p:cNvPr>
          <p:cNvSpPr>
            <a:spLocks noGrp="1"/>
          </p:cNvSpPr>
          <p:nvPr>
            <p:ph type="sldNum" sz="quarter" idx="11"/>
          </p:nvPr>
        </p:nvSpPr>
        <p:spPr/>
        <p:txBody>
          <a:bodyPr/>
          <a:lstStyle/>
          <a:p>
            <a:pPr fontAlgn="auto">
              <a:spcBef>
                <a:spcPts val="0"/>
              </a:spcBef>
              <a:spcAft>
                <a:spcPts val="0"/>
              </a:spcAft>
            </a:pPr>
            <a:r>
              <a:rPr lang="en-US" dirty="0">
                <a:solidFill>
                  <a:prstClr val="white"/>
                </a:solidFill>
                <a:latin typeface="Arial"/>
                <a:ea typeface="+mn-ea"/>
              </a:rPr>
              <a:t>Page </a:t>
            </a:r>
            <a:fld id="{15EBE321-CBB1-4E91-BD14-37C8D44326FB}" type="slidenum">
              <a:rPr lang="en-US">
                <a:solidFill>
                  <a:prstClr val="white"/>
                </a:solidFill>
                <a:latin typeface="Arial"/>
                <a:ea typeface="+mn-ea"/>
              </a:rPr>
              <a:pPr fontAlgn="auto">
                <a:spcBef>
                  <a:spcPts val="0"/>
                </a:spcBef>
                <a:spcAft>
                  <a:spcPts val="0"/>
                </a:spcAft>
              </a:pPr>
              <a:t>5</a:t>
            </a:fld>
            <a:endParaRPr lang="en-US" dirty="0">
              <a:solidFill>
                <a:prstClr val="white"/>
              </a:solidFill>
              <a:latin typeface="Arial"/>
              <a:ea typeface="+mn-ea"/>
            </a:endParaRPr>
          </a:p>
        </p:txBody>
      </p:sp>
      <p:sp>
        <p:nvSpPr>
          <p:cNvPr id="23" name="Textfeld 22">
            <a:extLst>
              <a:ext uri="{FF2B5EF4-FFF2-40B4-BE49-F238E27FC236}">
                <a16:creationId xmlns:a16="http://schemas.microsoft.com/office/drawing/2014/main" id="{64B56B39-DB64-4DDC-8AAE-80A245F8220E}"/>
              </a:ext>
            </a:extLst>
          </p:cNvPr>
          <p:cNvSpPr txBox="1">
            <a:spLocks/>
          </p:cNvSpPr>
          <p:nvPr/>
        </p:nvSpPr>
        <p:spPr>
          <a:xfrm>
            <a:off x="1183598" y="2737344"/>
            <a:ext cx="343043" cy="369332"/>
          </a:xfrm>
          <a:prstGeom prst="rect">
            <a:avLst/>
          </a:prstGeom>
          <a:noFill/>
        </p:spPr>
        <p:txBody>
          <a:bodyPr wrap="none" lIns="0" tIns="0" rIns="0" bIns="0" rtlCol="0" anchor="ctr">
            <a:spAutoFit/>
          </a:bodyPr>
          <a:lstStyle/>
          <a:p>
            <a:pPr fontAlgn="auto">
              <a:spcBef>
                <a:spcPts val="0"/>
              </a:spcBef>
              <a:spcAft>
                <a:spcPts val="0"/>
              </a:spcAft>
            </a:pPr>
            <a:r>
              <a:rPr lang="en-US" sz="2400" dirty="0">
                <a:gradFill>
                  <a:gsLst>
                    <a:gs pos="0">
                      <a:srgbClr val="00FFB9"/>
                    </a:gs>
                    <a:gs pos="100000">
                      <a:srgbClr val="00E6DC"/>
                    </a:gs>
                  </a:gsLst>
                  <a:lin ang="0" scaled="1"/>
                </a:gradFill>
                <a:latin typeface="Arial"/>
                <a:ea typeface="+mn-ea"/>
              </a:rPr>
              <a:t>03</a:t>
            </a:r>
          </a:p>
        </p:txBody>
      </p:sp>
      <p:sp>
        <p:nvSpPr>
          <p:cNvPr id="24" name="Textfeld 23">
            <a:extLst>
              <a:ext uri="{FF2B5EF4-FFF2-40B4-BE49-F238E27FC236}">
                <a16:creationId xmlns:a16="http://schemas.microsoft.com/office/drawing/2014/main" id="{4B35E8FD-63D9-4E01-8753-9DF872EF21E7}"/>
              </a:ext>
            </a:extLst>
          </p:cNvPr>
          <p:cNvSpPr txBox="1">
            <a:spLocks/>
          </p:cNvSpPr>
          <p:nvPr/>
        </p:nvSpPr>
        <p:spPr>
          <a:xfrm>
            <a:off x="1183598" y="3368007"/>
            <a:ext cx="343043" cy="369332"/>
          </a:xfrm>
          <a:prstGeom prst="rect">
            <a:avLst/>
          </a:prstGeom>
          <a:noFill/>
        </p:spPr>
        <p:txBody>
          <a:bodyPr wrap="none" lIns="0" tIns="0" rIns="0" bIns="0" rtlCol="0" anchor="ctr">
            <a:spAutoFit/>
          </a:bodyPr>
          <a:lstStyle/>
          <a:p>
            <a:pPr fontAlgn="auto">
              <a:spcBef>
                <a:spcPts val="0"/>
              </a:spcBef>
              <a:spcAft>
                <a:spcPts val="0"/>
              </a:spcAft>
            </a:pPr>
            <a:r>
              <a:rPr lang="en-US" sz="2400" dirty="0">
                <a:gradFill>
                  <a:gsLst>
                    <a:gs pos="0">
                      <a:srgbClr val="00FFB9"/>
                    </a:gs>
                    <a:gs pos="100000">
                      <a:srgbClr val="00E6DC"/>
                    </a:gs>
                  </a:gsLst>
                  <a:lin ang="0" scaled="1"/>
                </a:gradFill>
                <a:latin typeface="Arial"/>
                <a:ea typeface="+mn-ea"/>
              </a:rPr>
              <a:t>04</a:t>
            </a:r>
          </a:p>
        </p:txBody>
      </p:sp>
      <p:sp>
        <p:nvSpPr>
          <p:cNvPr id="25" name="Textfeld 24">
            <a:extLst>
              <a:ext uri="{FF2B5EF4-FFF2-40B4-BE49-F238E27FC236}">
                <a16:creationId xmlns:a16="http://schemas.microsoft.com/office/drawing/2014/main" id="{EAE2A38B-B303-4EA7-B648-75B3D5408B8C}"/>
              </a:ext>
            </a:extLst>
          </p:cNvPr>
          <p:cNvSpPr txBox="1">
            <a:spLocks/>
          </p:cNvSpPr>
          <p:nvPr/>
        </p:nvSpPr>
        <p:spPr>
          <a:xfrm>
            <a:off x="1183598" y="3998670"/>
            <a:ext cx="343043" cy="369332"/>
          </a:xfrm>
          <a:prstGeom prst="rect">
            <a:avLst/>
          </a:prstGeom>
          <a:noFill/>
        </p:spPr>
        <p:txBody>
          <a:bodyPr wrap="none" lIns="0" tIns="0" rIns="0" bIns="0" rtlCol="0" anchor="ctr">
            <a:spAutoFit/>
          </a:bodyPr>
          <a:lstStyle/>
          <a:p>
            <a:pPr fontAlgn="auto">
              <a:spcBef>
                <a:spcPts val="0"/>
              </a:spcBef>
              <a:spcAft>
                <a:spcPts val="0"/>
              </a:spcAft>
            </a:pPr>
            <a:r>
              <a:rPr lang="en-US" sz="2400" dirty="0">
                <a:gradFill>
                  <a:gsLst>
                    <a:gs pos="0">
                      <a:srgbClr val="00FFB9"/>
                    </a:gs>
                    <a:gs pos="100000">
                      <a:srgbClr val="00E6DC"/>
                    </a:gs>
                  </a:gsLst>
                  <a:lin ang="0" scaled="1"/>
                </a:gradFill>
                <a:latin typeface="Arial"/>
                <a:ea typeface="+mn-ea"/>
              </a:rPr>
              <a:t>05</a:t>
            </a:r>
          </a:p>
        </p:txBody>
      </p:sp>
      <p:sp>
        <p:nvSpPr>
          <p:cNvPr id="26" name="Textfeld 25">
            <a:extLst>
              <a:ext uri="{FF2B5EF4-FFF2-40B4-BE49-F238E27FC236}">
                <a16:creationId xmlns:a16="http://schemas.microsoft.com/office/drawing/2014/main" id="{6225FA37-AAE1-4F1C-AE67-8304EECDD657}"/>
              </a:ext>
            </a:extLst>
          </p:cNvPr>
          <p:cNvSpPr txBox="1">
            <a:spLocks/>
          </p:cNvSpPr>
          <p:nvPr/>
        </p:nvSpPr>
        <p:spPr>
          <a:xfrm>
            <a:off x="1183598" y="4629333"/>
            <a:ext cx="343043" cy="369332"/>
          </a:xfrm>
          <a:prstGeom prst="rect">
            <a:avLst/>
          </a:prstGeom>
          <a:noFill/>
        </p:spPr>
        <p:txBody>
          <a:bodyPr wrap="none" lIns="0" tIns="0" rIns="0" bIns="0" rtlCol="0" anchor="ctr">
            <a:spAutoFit/>
          </a:bodyPr>
          <a:lstStyle/>
          <a:p>
            <a:pPr fontAlgn="auto">
              <a:spcBef>
                <a:spcPts val="0"/>
              </a:spcBef>
              <a:spcAft>
                <a:spcPts val="0"/>
              </a:spcAft>
            </a:pPr>
            <a:r>
              <a:rPr lang="en-US" sz="2400" dirty="0">
                <a:gradFill>
                  <a:gsLst>
                    <a:gs pos="0">
                      <a:srgbClr val="00FFB9"/>
                    </a:gs>
                    <a:gs pos="100000">
                      <a:srgbClr val="00E6DC"/>
                    </a:gs>
                  </a:gsLst>
                  <a:lin ang="0" scaled="1"/>
                </a:gradFill>
                <a:latin typeface="Arial"/>
                <a:ea typeface="+mn-ea"/>
              </a:rPr>
              <a:t>06</a:t>
            </a:r>
          </a:p>
        </p:txBody>
      </p:sp>
      <p:sp>
        <p:nvSpPr>
          <p:cNvPr id="28" name="Rectangle 34">
            <a:extLst>
              <a:ext uri="{FF2B5EF4-FFF2-40B4-BE49-F238E27FC236}">
                <a16:creationId xmlns:a16="http://schemas.microsoft.com/office/drawing/2014/main" id="{09F6197C-5329-4E1B-9C62-7B297A13FD18}"/>
              </a:ext>
            </a:extLst>
          </p:cNvPr>
          <p:cNvSpPr>
            <a:spLocks/>
          </p:cNvSpPr>
          <p:nvPr/>
        </p:nvSpPr>
        <p:spPr bwMode="auto">
          <a:xfrm>
            <a:off x="1753509" y="3477868"/>
            <a:ext cx="3428093" cy="276999"/>
          </a:xfrm>
          <a:prstGeom prst="rect">
            <a:avLst/>
          </a:prstGeom>
          <a:noFill/>
          <a:ln w="38100">
            <a:noFill/>
            <a:prstDash val="solid"/>
          </a:ln>
          <a:effectLst/>
        </p:spPr>
        <p:txBody>
          <a:bodyPr wrap="square" lIns="0" tIns="0" rIns="0" bIns="0" rtlCol="0" anchor="ctr">
            <a:spAutoFit/>
          </a:bodyPr>
          <a:lstStyle/>
          <a:p>
            <a:pPr defTabSz="913212">
              <a:spcBef>
                <a:spcPct val="0"/>
              </a:spcBef>
              <a:defRPr/>
            </a:pPr>
            <a:r>
              <a:rPr lang="en-US" dirty="0">
                <a:solidFill>
                  <a:prstClr val="white"/>
                </a:solidFill>
                <a:latin typeface="Arial" charset="0"/>
              </a:rPr>
              <a:t>Digital Process Twin</a:t>
            </a:r>
          </a:p>
        </p:txBody>
      </p:sp>
      <p:sp>
        <p:nvSpPr>
          <p:cNvPr id="29" name="Rectangle 35">
            <a:extLst>
              <a:ext uri="{FF2B5EF4-FFF2-40B4-BE49-F238E27FC236}">
                <a16:creationId xmlns:a16="http://schemas.microsoft.com/office/drawing/2014/main" id="{E3F58E8B-8880-4FA9-88BA-802DD2AE53DB}"/>
              </a:ext>
            </a:extLst>
          </p:cNvPr>
          <p:cNvSpPr>
            <a:spLocks/>
          </p:cNvSpPr>
          <p:nvPr/>
        </p:nvSpPr>
        <p:spPr bwMode="auto">
          <a:xfrm>
            <a:off x="1753509" y="2836483"/>
            <a:ext cx="3703864" cy="276999"/>
          </a:xfrm>
          <a:prstGeom prst="rect">
            <a:avLst/>
          </a:prstGeom>
          <a:noFill/>
          <a:ln w="38100">
            <a:noFill/>
            <a:prstDash val="solid"/>
          </a:ln>
          <a:effectLst/>
        </p:spPr>
        <p:txBody>
          <a:bodyPr wrap="square" lIns="0" tIns="0" rIns="0" bIns="0" rtlCol="0" anchor="ctr">
            <a:spAutoFit/>
          </a:bodyPr>
          <a:lstStyle/>
          <a:p>
            <a:pPr defTabSz="913212">
              <a:spcBef>
                <a:spcPct val="0"/>
              </a:spcBef>
              <a:defRPr/>
            </a:pPr>
            <a:r>
              <a:rPr lang="en-US" dirty="0">
                <a:solidFill>
                  <a:prstClr val="white"/>
                </a:solidFill>
                <a:latin typeface="Arial" charset="0"/>
              </a:rPr>
              <a:t>Digital Plant Twin</a:t>
            </a:r>
          </a:p>
        </p:txBody>
      </p:sp>
      <p:sp>
        <p:nvSpPr>
          <p:cNvPr id="33" name="Rectangle 34">
            <a:extLst>
              <a:ext uri="{FF2B5EF4-FFF2-40B4-BE49-F238E27FC236}">
                <a16:creationId xmlns:a16="http://schemas.microsoft.com/office/drawing/2014/main" id="{A726D817-0B2D-4AAD-B8FB-7B6EA1E3C5B4}"/>
              </a:ext>
            </a:extLst>
          </p:cNvPr>
          <p:cNvSpPr>
            <a:spLocks/>
          </p:cNvSpPr>
          <p:nvPr/>
        </p:nvSpPr>
        <p:spPr bwMode="auto">
          <a:xfrm>
            <a:off x="1753509" y="4133255"/>
            <a:ext cx="2840496" cy="276999"/>
          </a:xfrm>
          <a:prstGeom prst="rect">
            <a:avLst/>
          </a:prstGeom>
          <a:noFill/>
          <a:ln w="38100">
            <a:noFill/>
            <a:prstDash val="solid"/>
          </a:ln>
          <a:effectLst/>
        </p:spPr>
        <p:txBody>
          <a:bodyPr wrap="square" lIns="0" tIns="0" rIns="0" bIns="0" rtlCol="0" anchor="ctr">
            <a:spAutoFit/>
          </a:bodyPr>
          <a:lstStyle/>
          <a:p>
            <a:pPr defTabSz="913212">
              <a:spcBef>
                <a:spcPct val="0"/>
              </a:spcBef>
              <a:defRPr/>
            </a:pPr>
            <a:r>
              <a:rPr lang="en-US" dirty="0">
                <a:solidFill>
                  <a:prstClr val="white"/>
                </a:solidFill>
                <a:latin typeface="Arial" charset="0"/>
              </a:rPr>
              <a:t>Digital Performance Twin</a:t>
            </a:r>
          </a:p>
        </p:txBody>
      </p:sp>
      <p:sp>
        <p:nvSpPr>
          <p:cNvPr id="34" name="Rectangle 34">
            <a:extLst>
              <a:ext uri="{FF2B5EF4-FFF2-40B4-BE49-F238E27FC236}">
                <a16:creationId xmlns:a16="http://schemas.microsoft.com/office/drawing/2014/main" id="{7524133C-6FAF-4A9F-A79E-45AE5318D253}"/>
              </a:ext>
            </a:extLst>
          </p:cNvPr>
          <p:cNvSpPr>
            <a:spLocks/>
          </p:cNvSpPr>
          <p:nvPr/>
        </p:nvSpPr>
        <p:spPr bwMode="auto">
          <a:xfrm>
            <a:off x="1753509" y="4721671"/>
            <a:ext cx="2528207" cy="276999"/>
          </a:xfrm>
          <a:prstGeom prst="rect">
            <a:avLst/>
          </a:prstGeom>
          <a:noFill/>
          <a:ln w="38100">
            <a:noFill/>
            <a:prstDash val="solid"/>
          </a:ln>
          <a:effectLst/>
        </p:spPr>
        <p:txBody>
          <a:bodyPr wrap="square" lIns="0" tIns="0" rIns="0" bIns="0" rtlCol="0" anchor="ctr">
            <a:spAutoFit/>
          </a:bodyPr>
          <a:lstStyle/>
          <a:p>
            <a:pPr defTabSz="913212">
              <a:spcBef>
                <a:spcPct val="0"/>
              </a:spcBef>
              <a:defRPr/>
            </a:pPr>
            <a:r>
              <a:rPr lang="en-US" dirty="0">
                <a:solidFill>
                  <a:prstClr val="white"/>
                </a:solidFill>
                <a:latin typeface="Arial" charset="0"/>
              </a:rPr>
              <a:t>Digital Asset Twin</a:t>
            </a:r>
          </a:p>
        </p:txBody>
      </p:sp>
      <p:cxnSp>
        <p:nvCxnSpPr>
          <p:cNvPr id="37" name="Gerader Verbinder 36">
            <a:extLst>
              <a:ext uri="{FF2B5EF4-FFF2-40B4-BE49-F238E27FC236}">
                <a16:creationId xmlns:a16="http://schemas.microsoft.com/office/drawing/2014/main" id="{397402EF-9941-4A9F-8E5B-BA83C89BB4A0}"/>
              </a:ext>
            </a:extLst>
          </p:cNvPr>
          <p:cNvCxnSpPr/>
          <p:nvPr/>
        </p:nvCxnSpPr>
        <p:spPr>
          <a:xfrm>
            <a:off x="1182835" y="2606679"/>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82CAD8A3-9BF3-422F-A94F-65743B2B0F01}"/>
              </a:ext>
            </a:extLst>
          </p:cNvPr>
          <p:cNvCxnSpPr/>
          <p:nvPr/>
        </p:nvCxnSpPr>
        <p:spPr>
          <a:xfrm>
            <a:off x="1182835" y="3237342"/>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49F717C9-7099-4607-984A-FFFA11A71BCE}"/>
              </a:ext>
            </a:extLst>
          </p:cNvPr>
          <p:cNvCxnSpPr/>
          <p:nvPr/>
        </p:nvCxnSpPr>
        <p:spPr>
          <a:xfrm>
            <a:off x="1182835" y="3868005"/>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36E90214-E47D-475C-AE58-D5107F64BBF9}"/>
              </a:ext>
            </a:extLst>
          </p:cNvPr>
          <p:cNvCxnSpPr/>
          <p:nvPr/>
        </p:nvCxnSpPr>
        <p:spPr>
          <a:xfrm>
            <a:off x="1182835" y="4498668"/>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029167A2-8A8E-4ADF-8444-F14A49317959}"/>
              </a:ext>
            </a:extLst>
          </p:cNvPr>
          <p:cNvCxnSpPr/>
          <p:nvPr/>
        </p:nvCxnSpPr>
        <p:spPr>
          <a:xfrm>
            <a:off x="1182835" y="5129331"/>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grpSp>
        <p:nvGrpSpPr>
          <p:cNvPr id="11" name="Gruppieren 10">
            <a:extLst>
              <a:ext uri="{FF2B5EF4-FFF2-40B4-BE49-F238E27FC236}">
                <a16:creationId xmlns:a16="http://schemas.microsoft.com/office/drawing/2014/main" id="{79C12D48-1487-46E7-909F-09C0ECD77FAA}"/>
              </a:ext>
            </a:extLst>
          </p:cNvPr>
          <p:cNvGrpSpPr/>
          <p:nvPr/>
        </p:nvGrpSpPr>
        <p:grpSpPr>
          <a:xfrm>
            <a:off x="5323908" y="1010931"/>
            <a:ext cx="6460103" cy="5975478"/>
            <a:chOff x="5029200" y="805142"/>
            <a:chExt cx="6873760" cy="6358103"/>
          </a:xfrm>
        </p:grpSpPr>
        <p:pic>
          <p:nvPicPr>
            <p:cNvPr id="43" name="Grafik 42" descr="Ein Bild, das Spielzeug enthält.&#10;&#10;Automatisch generierte Beschreibung">
              <a:extLst>
                <a:ext uri="{FF2B5EF4-FFF2-40B4-BE49-F238E27FC236}">
                  <a16:creationId xmlns:a16="http://schemas.microsoft.com/office/drawing/2014/main" id="{AC5ABE92-90A2-4CF1-923E-8366F88F806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624357" y="805142"/>
              <a:ext cx="5278603" cy="5278603"/>
            </a:xfrm>
            <a:prstGeom prst="rect">
              <a:avLst/>
            </a:prstGeom>
          </p:spPr>
        </p:pic>
        <p:pic>
          <p:nvPicPr>
            <p:cNvPr id="45" name="Grafik 44">
              <a:extLst>
                <a:ext uri="{FF2B5EF4-FFF2-40B4-BE49-F238E27FC236}">
                  <a16:creationId xmlns:a16="http://schemas.microsoft.com/office/drawing/2014/main" id="{3AEACEEB-300E-4A6B-8D2E-6046010667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29200" y="1884642"/>
              <a:ext cx="5278603" cy="5278603"/>
            </a:xfrm>
            <a:prstGeom prst="rect">
              <a:avLst/>
            </a:prstGeom>
          </p:spPr>
        </p:pic>
      </p:grpSp>
    </p:spTree>
    <p:extLst>
      <p:ext uri="{BB962C8B-B14F-4D97-AF65-F5344CB8AC3E}">
        <p14:creationId xmlns:p14="http://schemas.microsoft.com/office/powerpoint/2010/main" val="1187339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5AB59646-5CC6-443D-9AB5-61F5844AED32}"/>
              </a:ext>
            </a:extLst>
          </p:cNvPr>
          <p:cNvGraphicFramePr>
            <a:graphicFrameLocks noChangeAspect="1"/>
          </p:cNvGraphicFramePr>
          <p:nvPr>
            <p:custDataLst>
              <p:tags r:id="rId2"/>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470026" name="think-cell Folie" r:id="rId6" imgW="353" imgH="353" progId="TCLayout.ActiveDocument.1">
                  <p:embed/>
                </p:oleObj>
              </mc:Choice>
              <mc:Fallback>
                <p:oleObj name="think-cell Folie" r:id="rId6" imgW="353" imgH="353" progId="TCLayout.ActiveDocument.1">
                  <p:embed/>
                  <p:pic>
                    <p:nvPicPr>
                      <p:cNvPr id="19" name="Object 18" hidden="1">
                        <a:extLst>
                          <a:ext uri="{FF2B5EF4-FFF2-40B4-BE49-F238E27FC236}">
                            <a16:creationId xmlns:a16="http://schemas.microsoft.com/office/drawing/2014/main" id="{5AB59646-5CC6-443D-9AB5-61F5844AED32}"/>
                          </a:ext>
                        </a:extLst>
                      </p:cNvPr>
                      <p:cNvPicPr/>
                      <p:nvPr/>
                    </p:nvPicPr>
                    <p:blipFill>
                      <a:blip r:embed="rId7"/>
                      <a:stretch>
                        <a:fillRect/>
                      </a:stretch>
                    </p:blipFill>
                    <p:spPr>
                      <a:xfrm>
                        <a:off x="4763" y="3373"/>
                        <a:ext cx="1587" cy="1587"/>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A2FC5A00-9F5D-4F3A-824C-F1BC42F9BEC1}"/>
              </a:ext>
            </a:extLst>
          </p:cNvPr>
          <p:cNvSpPr/>
          <p:nvPr>
            <p:custDataLst>
              <p:tags r:id="rId3"/>
            </p:custDataLst>
          </p:nvPr>
        </p:nvSpPr>
        <p:spPr bwMode="auto">
          <a:xfrm>
            <a:off x="3176" y="1786"/>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chorCtr="0">
            <a:noAutofit/>
          </a:bodyPr>
          <a:lstStyle/>
          <a:p>
            <a:pPr algn="ctr" fontAlgn="auto">
              <a:lnSpc>
                <a:spcPct val="110000"/>
              </a:lnSpc>
              <a:spcBef>
                <a:spcPct val="0"/>
              </a:spcBef>
              <a:spcAft>
                <a:spcPts val="0"/>
              </a:spcAft>
            </a:pPr>
            <a:endParaRPr lang="en-IE" sz="2399" b="1" dirty="0">
              <a:solidFill>
                <a:prstClr val="white"/>
              </a:solidFill>
              <a:latin typeface="Arial"/>
              <a:ea typeface="+mn-ea"/>
              <a:cs typeface="Arial" panose="020B0604020202020204" pitchFamily="34" charset="0"/>
              <a:sym typeface="Arial" panose="020B0604020202020204" pitchFamily="34" charset="0"/>
            </a:endParaRPr>
          </a:p>
        </p:txBody>
      </p:sp>
      <p:sp>
        <p:nvSpPr>
          <p:cNvPr id="3" name="Textfeld 2">
            <a:extLst>
              <a:ext uri="{FF2B5EF4-FFF2-40B4-BE49-F238E27FC236}">
                <a16:creationId xmlns:a16="http://schemas.microsoft.com/office/drawing/2014/main" id="{86511DB2-E14A-418D-83E3-3FA8D96DBFF4}"/>
              </a:ext>
            </a:extLst>
          </p:cNvPr>
          <p:cNvSpPr txBox="1">
            <a:spLocks noChangeAspect="1"/>
          </p:cNvSpPr>
          <p:nvPr/>
        </p:nvSpPr>
        <p:spPr>
          <a:xfrm>
            <a:off x="4074860" y="1104078"/>
            <a:ext cx="1631957" cy="1631957"/>
          </a:xfrm>
          <a:prstGeom prst="ellipse">
            <a:avLst/>
          </a:prstGeom>
          <a:solidFill>
            <a:srgbClr val="19193C"/>
          </a:solidFill>
          <a:ln w="12700">
            <a:solidFill>
              <a:schemeClr val="accent2"/>
            </a:solidFill>
          </a:ln>
        </p:spPr>
        <p:txBody>
          <a:bodyPr wrap="none" lIns="0" tIns="0" rIns="0" bIns="0" rtlCol="0" anchor="ctr">
            <a:noAutofit/>
          </a:bodyPr>
          <a:lstStyle/>
          <a:p>
            <a:pPr algn="ctr" fontAlgn="auto">
              <a:lnSpc>
                <a:spcPct val="110000"/>
              </a:lnSpc>
              <a:spcBef>
                <a:spcPts val="0"/>
              </a:spcBef>
              <a:spcAft>
                <a:spcPts val="0"/>
              </a:spcAft>
            </a:pPr>
            <a:r>
              <a:rPr lang="en-US" sz="1600" dirty="0">
                <a:solidFill>
                  <a:srgbClr val="00BEDC"/>
                </a:solidFill>
                <a:latin typeface="Arial"/>
                <a:ea typeface="Arial Unicode MS" panose="020B0604020202020204" pitchFamily="34" charset="-128"/>
                <a:cs typeface="Arial Unicode MS" panose="020B0604020202020204" pitchFamily="34" charset="-128"/>
              </a:rPr>
              <a:t>Databases</a:t>
            </a:r>
          </a:p>
        </p:txBody>
      </p:sp>
      <p:sp>
        <p:nvSpPr>
          <p:cNvPr id="5" name="Textfeld 4">
            <a:extLst>
              <a:ext uri="{FF2B5EF4-FFF2-40B4-BE49-F238E27FC236}">
                <a16:creationId xmlns:a16="http://schemas.microsoft.com/office/drawing/2014/main" id="{F7F0D573-2CC1-4765-8523-84C724D792AC}"/>
              </a:ext>
            </a:extLst>
          </p:cNvPr>
          <p:cNvSpPr txBox="1">
            <a:spLocks noChangeAspect="1"/>
          </p:cNvSpPr>
          <p:nvPr/>
        </p:nvSpPr>
        <p:spPr>
          <a:xfrm>
            <a:off x="5197210" y="2039802"/>
            <a:ext cx="1631957" cy="1631957"/>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FF9000"/>
                </a:solidFill>
                <a:latin typeface="Arial"/>
                <a:ea typeface="Arial Unicode MS" panose="020B0604020202020204" pitchFamily="34" charset="-128"/>
                <a:cs typeface="Arial Unicode MS" panose="020B0604020202020204" pitchFamily="34" charset="-128"/>
              </a:rPr>
              <a:t>Excel</a:t>
            </a:r>
          </a:p>
        </p:txBody>
      </p:sp>
      <p:sp>
        <p:nvSpPr>
          <p:cNvPr id="6" name="Textfeld 5">
            <a:extLst>
              <a:ext uri="{FF2B5EF4-FFF2-40B4-BE49-F238E27FC236}">
                <a16:creationId xmlns:a16="http://schemas.microsoft.com/office/drawing/2014/main" id="{D0FA6283-E271-44EB-8D09-06B040294984}"/>
              </a:ext>
            </a:extLst>
          </p:cNvPr>
          <p:cNvSpPr txBox="1">
            <a:spLocks noChangeAspect="1"/>
          </p:cNvSpPr>
          <p:nvPr/>
        </p:nvSpPr>
        <p:spPr>
          <a:xfrm>
            <a:off x="1631429" y="3825204"/>
            <a:ext cx="1631957" cy="1631957"/>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Water quality</a:t>
            </a:r>
          </a:p>
        </p:txBody>
      </p:sp>
      <p:sp>
        <p:nvSpPr>
          <p:cNvPr id="8" name="Textfeld 7">
            <a:extLst>
              <a:ext uri="{FF2B5EF4-FFF2-40B4-BE49-F238E27FC236}">
                <a16:creationId xmlns:a16="http://schemas.microsoft.com/office/drawing/2014/main" id="{C4BF4D4F-7A39-4300-AC19-676E76DA4C13}"/>
              </a:ext>
            </a:extLst>
          </p:cNvPr>
          <p:cNvSpPr txBox="1">
            <a:spLocks noChangeAspect="1"/>
          </p:cNvSpPr>
          <p:nvPr/>
        </p:nvSpPr>
        <p:spPr>
          <a:xfrm>
            <a:off x="1044436" y="2070121"/>
            <a:ext cx="1371430" cy="1371430"/>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BEDC"/>
                </a:solidFill>
                <a:latin typeface="Arial"/>
                <a:ea typeface="Arial Unicode MS" panose="020B0604020202020204" pitchFamily="34" charset="-128"/>
                <a:cs typeface="Arial Unicode MS" panose="020B0604020202020204" pitchFamily="34" charset="-128"/>
              </a:rPr>
              <a:t>Module packages</a:t>
            </a:r>
          </a:p>
        </p:txBody>
      </p:sp>
      <p:sp>
        <p:nvSpPr>
          <p:cNvPr id="10" name="Textfeld 9">
            <a:extLst>
              <a:ext uri="{FF2B5EF4-FFF2-40B4-BE49-F238E27FC236}">
                <a16:creationId xmlns:a16="http://schemas.microsoft.com/office/drawing/2014/main" id="{DCD4CDC5-4358-4E7E-BFCD-CFD498FF7BC4}"/>
              </a:ext>
            </a:extLst>
          </p:cNvPr>
          <p:cNvSpPr txBox="1">
            <a:spLocks noChangeAspect="1"/>
          </p:cNvSpPr>
          <p:nvPr/>
        </p:nvSpPr>
        <p:spPr>
          <a:xfrm>
            <a:off x="4430295" y="4528261"/>
            <a:ext cx="1168426" cy="1168426"/>
          </a:xfrm>
          <a:prstGeom prst="ellipse">
            <a:avLst/>
          </a:prstGeom>
          <a:solidFill>
            <a:srgbClr val="19193C"/>
          </a:solidFill>
          <a:ln w="12700">
            <a:solidFill>
              <a:schemeClr val="accent2"/>
            </a:solidFill>
          </a:ln>
        </p:spPr>
        <p:txBody>
          <a:bodyPr wrap="none" lIns="0" tIns="0" rIns="0" bIns="0" rtlCol="0" anchor="ctr">
            <a:noAutofit/>
          </a:bodyPr>
          <a:lstStyle/>
          <a:p>
            <a:pPr algn="ctr" fontAlgn="auto">
              <a:lnSpc>
                <a:spcPct val="110000"/>
              </a:lnSpc>
              <a:spcBef>
                <a:spcPts val="0"/>
              </a:spcBef>
              <a:spcAft>
                <a:spcPts val="0"/>
              </a:spcAft>
            </a:pPr>
            <a:r>
              <a:rPr lang="en-US" sz="1600" dirty="0">
                <a:solidFill>
                  <a:srgbClr val="00AF8E"/>
                </a:solidFill>
                <a:latin typeface="Arial"/>
                <a:ea typeface="Arial Unicode MS" panose="020B0604020202020204" pitchFamily="34" charset="-128"/>
                <a:cs typeface="Arial Unicode MS" panose="020B0604020202020204" pitchFamily="34" charset="-128"/>
              </a:rPr>
              <a:t>Files</a:t>
            </a:r>
          </a:p>
        </p:txBody>
      </p:sp>
      <p:sp>
        <p:nvSpPr>
          <p:cNvPr id="11" name="Textfeld 10">
            <a:extLst>
              <a:ext uri="{FF2B5EF4-FFF2-40B4-BE49-F238E27FC236}">
                <a16:creationId xmlns:a16="http://schemas.microsoft.com/office/drawing/2014/main" id="{D075E086-3737-4346-98FD-DEF62079C970}"/>
              </a:ext>
            </a:extLst>
          </p:cNvPr>
          <p:cNvSpPr txBox="1">
            <a:spLocks noChangeAspect="1"/>
          </p:cNvSpPr>
          <p:nvPr/>
        </p:nvSpPr>
        <p:spPr>
          <a:xfrm>
            <a:off x="2013845" y="2769818"/>
            <a:ext cx="1255352" cy="1255352"/>
          </a:xfrm>
          <a:prstGeom prst="ellipse">
            <a:avLst/>
          </a:prstGeom>
          <a:solidFill>
            <a:srgbClr val="19193C"/>
          </a:solidFill>
          <a:ln w="12700">
            <a:solidFill>
              <a:schemeClr val="accent2"/>
            </a:solidFill>
          </a:ln>
        </p:spPr>
        <p:txBody>
          <a:bodyPr wrap="none" lIns="0" tIns="0" rIns="0" bIns="0" rtlCol="0" anchor="ctr">
            <a:noAutofit/>
          </a:bodyPr>
          <a:lstStyle/>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ERP</a:t>
            </a:r>
          </a:p>
        </p:txBody>
      </p:sp>
      <p:sp>
        <p:nvSpPr>
          <p:cNvPr id="13" name="Textfeld 12">
            <a:extLst>
              <a:ext uri="{FF2B5EF4-FFF2-40B4-BE49-F238E27FC236}">
                <a16:creationId xmlns:a16="http://schemas.microsoft.com/office/drawing/2014/main" id="{9F0C2CD6-03B8-40B2-9A98-24F1E6BC851C}"/>
              </a:ext>
            </a:extLst>
          </p:cNvPr>
          <p:cNvSpPr txBox="1">
            <a:spLocks noChangeAspect="1"/>
          </p:cNvSpPr>
          <p:nvPr/>
        </p:nvSpPr>
        <p:spPr>
          <a:xfrm>
            <a:off x="3385297" y="2033714"/>
            <a:ext cx="1426852" cy="1426852"/>
          </a:xfrm>
          <a:prstGeom prst="ellipse">
            <a:avLst/>
          </a:prstGeom>
          <a:solidFill>
            <a:srgbClr val="19193C"/>
          </a:solidFill>
          <a:ln w="12700">
            <a:solidFill>
              <a:schemeClr val="accent2"/>
            </a:solidFill>
          </a:ln>
        </p:spPr>
        <p:txBody>
          <a:bodyPr wrap="none" lIns="0" tIns="0" rIns="0" bIns="0" rtlCol="0" anchor="ctr">
            <a:noAutofit/>
          </a:bodyPr>
          <a:lstStyle/>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Construction</a:t>
            </a:r>
          </a:p>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Data</a:t>
            </a:r>
          </a:p>
        </p:txBody>
      </p:sp>
      <p:sp>
        <p:nvSpPr>
          <p:cNvPr id="16" name="Textfeld 15">
            <a:extLst>
              <a:ext uri="{FF2B5EF4-FFF2-40B4-BE49-F238E27FC236}">
                <a16:creationId xmlns:a16="http://schemas.microsoft.com/office/drawing/2014/main" id="{F218CC88-E63E-42B9-B89C-5D48F65FA1FB}"/>
              </a:ext>
            </a:extLst>
          </p:cNvPr>
          <p:cNvSpPr txBox="1">
            <a:spLocks noChangeAspect="1"/>
          </p:cNvSpPr>
          <p:nvPr/>
        </p:nvSpPr>
        <p:spPr>
          <a:xfrm>
            <a:off x="2923310" y="3530223"/>
            <a:ext cx="1631957" cy="1631957"/>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9999"/>
                </a:solidFill>
                <a:latin typeface="Arial"/>
                <a:ea typeface="Arial Unicode MS" panose="020B0604020202020204" pitchFamily="34" charset="-128"/>
                <a:cs typeface="Arial Unicode MS" panose="020B0604020202020204" pitchFamily="34" charset="-128"/>
              </a:rPr>
              <a:t>DCS/SCADA</a:t>
            </a:r>
          </a:p>
          <a:p>
            <a:pPr algn="ctr" fontAlgn="auto">
              <a:lnSpc>
                <a:spcPct val="110000"/>
              </a:lnSpc>
              <a:spcBef>
                <a:spcPts val="0"/>
              </a:spcBef>
              <a:spcAft>
                <a:spcPts val="0"/>
              </a:spcAft>
            </a:pPr>
            <a:r>
              <a:rPr lang="en-US" sz="1600" dirty="0">
                <a:solidFill>
                  <a:srgbClr val="009999"/>
                </a:solidFill>
                <a:latin typeface="Arial"/>
                <a:ea typeface="Arial Unicode MS" panose="020B0604020202020204" pitchFamily="34" charset="-128"/>
                <a:cs typeface="Arial Unicode MS" panose="020B0604020202020204" pitchFamily="34" charset="-128"/>
              </a:rPr>
              <a:t>systems</a:t>
            </a:r>
          </a:p>
        </p:txBody>
      </p:sp>
      <p:sp>
        <p:nvSpPr>
          <p:cNvPr id="32" name="Textfeld 9">
            <a:extLst>
              <a:ext uri="{FF2B5EF4-FFF2-40B4-BE49-F238E27FC236}">
                <a16:creationId xmlns:a16="http://schemas.microsoft.com/office/drawing/2014/main" id="{440DBD34-3235-4EC7-BAA9-200C8D78DA53}"/>
              </a:ext>
            </a:extLst>
          </p:cNvPr>
          <p:cNvSpPr txBox="1">
            <a:spLocks noChangeAspect="1"/>
          </p:cNvSpPr>
          <p:nvPr/>
        </p:nvSpPr>
        <p:spPr>
          <a:xfrm>
            <a:off x="4306841" y="2939885"/>
            <a:ext cx="1631957" cy="1631957"/>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AF8E"/>
                </a:solidFill>
                <a:latin typeface="Arial"/>
                <a:ea typeface="Arial Unicode MS" panose="020B0604020202020204" pitchFamily="34" charset="-128"/>
                <a:cs typeface="Arial Unicode MS" panose="020B0604020202020204" pitchFamily="34" charset="-128"/>
              </a:rPr>
              <a:t>Laboratory Analytics</a:t>
            </a:r>
          </a:p>
        </p:txBody>
      </p:sp>
      <p:sp>
        <p:nvSpPr>
          <p:cNvPr id="33" name="Textfeld 14">
            <a:extLst>
              <a:ext uri="{FF2B5EF4-FFF2-40B4-BE49-F238E27FC236}">
                <a16:creationId xmlns:a16="http://schemas.microsoft.com/office/drawing/2014/main" id="{5315C8CF-23CA-448E-8901-90A84190E9ED}"/>
              </a:ext>
            </a:extLst>
          </p:cNvPr>
          <p:cNvSpPr txBox="1">
            <a:spLocks noChangeAspect="1"/>
          </p:cNvSpPr>
          <p:nvPr/>
        </p:nvSpPr>
        <p:spPr>
          <a:xfrm>
            <a:off x="5573816" y="3821499"/>
            <a:ext cx="1631957" cy="1631957"/>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2387AA"/>
                </a:solidFill>
                <a:latin typeface="Arial"/>
                <a:ea typeface="Arial Unicode MS" panose="020B0604020202020204" pitchFamily="34" charset="-128"/>
                <a:cs typeface="Arial Unicode MS" panose="020B0604020202020204" pitchFamily="34" charset="-128"/>
              </a:rPr>
              <a:t>Metering &amp; Billing </a:t>
            </a:r>
            <a:r>
              <a:rPr lang="en-US" sz="1600" dirty="0">
                <a:solidFill>
                  <a:srgbClr val="0087BE"/>
                </a:solidFill>
                <a:latin typeface="Arial"/>
                <a:ea typeface="Arial Unicode MS" panose="020B0604020202020204" pitchFamily="34" charset="-128"/>
                <a:cs typeface="Arial Unicode MS" panose="020B0604020202020204" pitchFamily="34" charset="-128"/>
              </a:rPr>
              <a:t>Systems</a:t>
            </a:r>
          </a:p>
        </p:txBody>
      </p:sp>
      <p:sp>
        <p:nvSpPr>
          <p:cNvPr id="28" name="Textfeld 4">
            <a:extLst>
              <a:ext uri="{FF2B5EF4-FFF2-40B4-BE49-F238E27FC236}">
                <a16:creationId xmlns:a16="http://schemas.microsoft.com/office/drawing/2014/main" id="{567C0300-924A-4624-98D6-B26A8FC8B4A2}"/>
              </a:ext>
            </a:extLst>
          </p:cNvPr>
          <p:cNvSpPr txBox="1">
            <a:spLocks noChangeAspect="1"/>
          </p:cNvSpPr>
          <p:nvPr/>
        </p:nvSpPr>
        <p:spPr>
          <a:xfrm>
            <a:off x="1174608" y="3306803"/>
            <a:ext cx="1029389" cy="1029388"/>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RTU</a:t>
            </a:r>
          </a:p>
        </p:txBody>
      </p:sp>
      <p:sp>
        <p:nvSpPr>
          <p:cNvPr id="35" name="Textfeld 15">
            <a:extLst>
              <a:ext uri="{FF2B5EF4-FFF2-40B4-BE49-F238E27FC236}">
                <a16:creationId xmlns:a16="http://schemas.microsoft.com/office/drawing/2014/main" id="{45CFF6D0-0C8A-4C68-B7B2-D0979F7F60D6}"/>
              </a:ext>
            </a:extLst>
          </p:cNvPr>
          <p:cNvSpPr txBox="1">
            <a:spLocks noChangeAspect="1"/>
          </p:cNvSpPr>
          <p:nvPr/>
        </p:nvSpPr>
        <p:spPr>
          <a:xfrm>
            <a:off x="523876" y="4206667"/>
            <a:ext cx="1380887" cy="1380886"/>
          </a:xfrm>
          <a:prstGeom prst="ellipse">
            <a:avLst/>
          </a:prstGeom>
          <a:solidFill>
            <a:srgbClr val="19193C"/>
          </a:solidFill>
          <a:ln w="12700">
            <a:solidFill>
              <a:schemeClr val="accent2"/>
            </a:solidFill>
          </a:ln>
        </p:spPr>
        <p:txBody>
          <a:bodyPr wrap="square" lIns="0" tIns="0" rIns="0" bIns="0" rtlCol="0" anchor="ctr">
            <a:noAutofit/>
          </a:bodyPr>
          <a:lstStyle/>
          <a:p>
            <a:pPr algn="ctr" fontAlgn="auto">
              <a:lnSpc>
                <a:spcPct val="110000"/>
              </a:lnSpc>
              <a:spcBef>
                <a:spcPts val="0"/>
              </a:spcBef>
              <a:spcAft>
                <a:spcPts val="0"/>
              </a:spcAft>
            </a:pPr>
            <a:r>
              <a:rPr lang="en-US" sz="1600" dirty="0">
                <a:solidFill>
                  <a:srgbClr val="009999"/>
                </a:solidFill>
                <a:latin typeface="Arial"/>
                <a:ea typeface="Arial Unicode MS" panose="020B0604020202020204" pitchFamily="34" charset="-128"/>
                <a:cs typeface="Arial Unicode MS" panose="020B0604020202020204" pitchFamily="34" charset="-128"/>
              </a:rPr>
              <a:t>Enterprise Systems</a:t>
            </a:r>
          </a:p>
        </p:txBody>
      </p:sp>
      <p:sp>
        <p:nvSpPr>
          <p:cNvPr id="31" name="Textfeld 30">
            <a:extLst>
              <a:ext uri="{FF2B5EF4-FFF2-40B4-BE49-F238E27FC236}">
                <a16:creationId xmlns:a16="http://schemas.microsoft.com/office/drawing/2014/main" id="{4090D58B-D842-4013-B56E-8384DA4A58A3}"/>
              </a:ext>
            </a:extLst>
          </p:cNvPr>
          <p:cNvSpPr txBox="1">
            <a:spLocks noChangeAspect="1"/>
          </p:cNvSpPr>
          <p:nvPr/>
        </p:nvSpPr>
        <p:spPr>
          <a:xfrm>
            <a:off x="2577105" y="1964058"/>
            <a:ext cx="940763" cy="940763"/>
          </a:xfrm>
          <a:prstGeom prst="ellipse">
            <a:avLst/>
          </a:prstGeom>
          <a:solidFill>
            <a:srgbClr val="19193C"/>
          </a:solidFill>
          <a:ln w="12700">
            <a:solidFill>
              <a:schemeClr val="accent2"/>
            </a:solidFill>
          </a:ln>
        </p:spPr>
        <p:txBody>
          <a:bodyPr wrap="none" lIns="0" tIns="0" rIns="0" bIns="0" rtlCol="0" anchor="ctr">
            <a:noAutofit/>
          </a:bodyPr>
          <a:lstStyle/>
          <a:p>
            <a:pPr algn="ctr" fontAlgn="auto">
              <a:lnSpc>
                <a:spcPct val="110000"/>
              </a:lnSpc>
              <a:spcBef>
                <a:spcPts val="0"/>
              </a:spcBef>
              <a:spcAft>
                <a:spcPts val="0"/>
              </a:spcAft>
            </a:pPr>
            <a:r>
              <a:rPr lang="en-US" sz="1600" dirty="0">
                <a:solidFill>
                  <a:srgbClr val="00D7A0"/>
                </a:solidFill>
                <a:latin typeface="Arial"/>
                <a:ea typeface="Arial Unicode MS" panose="020B0604020202020204" pitchFamily="34" charset="-128"/>
                <a:cs typeface="Arial Unicode MS" panose="020B0604020202020204" pitchFamily="34" charset="-128"/>
              </a:rPr>
              <a:t>Cloud</a:t>
            </a:r>
          </a:p>
        </p:txBody>
      </p:sp>
      <p:sp>
        <p:nvSpPr>
          <p:cNvPr id="4" name="Rectangle 3">
            <a:extLst>
              <a:ext uri="{FF2B5EF4-FFF2-40B4-BE49-F238E27FC236}">
                <a16:creationId xmlns:a16="http://schemas.microsoft.com/office/drawing/2014/main" id="{D92CF9BF-2DA5-41D5-BA23-02A5668AA30D}"/>
              </a:ext>
            </a:extLst>
          </p:cNvPr>
          <p:cNvSpPr/>
          <p:nvPr/>
        </p:nvSpPr>
        <p:spPr>
          <a:xfrm>
            <a:off x="7602538" y="0"/>
            <a:ext cx="4592638" cy="685443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fontAlgn="auto">
              <a:spcBef>
                <a:spcPts val="0"/>
              </a:spcBef>
              <a:spcAft>
                <a:spcPts val="0"/>
              </a:spcAft>
            </a:pPr>
            <a:endParaRPr lang="en-US" dirty="0">
              <a:solidFill>
                <a:srgbClr val="FF0000"/>
              </a:solidFill>
              <a:latin typeface="Arial"/>
            </a:endParaRPr>
          </a:p>
        </p:txBody>
      </p:sp>
      <p:sp>
        <p:nvSpPr>
          <p:cNvPr id="12" name="Textfeld 11">
            <a:extLst>
              <a:ext uri="{FF2B5EF4-FFF2-40B4-BE49-F238E27FC236}">
                <a16:creationId xmlns:a16="http://schemas.microsoft.com/office/drawing/2014/main" id="{E8EA1C93-840A-4838-BCF1-7B93704B6332}"/>
              </a:ext>
            </a:extLst>
          </p:cNvPr>
          <p:cNvSpPr txBox="1"/>
          <p:nvPr/>
        </p:nvSpPr>
        <p:spPr>
          <a:xfrm>
            <a:off x="7900988" y="1427148"/>
            <a:ext cx="3889376" cy="2585323"/>
          </a:xfrm>
          <a:prstGeom prst="rect">
            <a:avLst/>
          </a:prstGeom>
          <a:noFill/>
        </p:spPr>
        <p:txBody>
          <a:bodyPr wrap="square" lIns="0" tIns="0" rIns="0" bIns="0" rtlCol="0">
            <a:spAutoFit/>
          </a:bodyPr>
          <a:lstStyle/>
          <a:p>
            <a:pPr fontAlgn="auto">
              <a:spcBef>
                <a:spcPts val="0"/>
              </a:spcBef>
              <a:spcAft>
                <a:spcPts val="0"/>
              </a:spcAft>
            </a:pPr>
            <a:r>
              <a:rPr lang="en-US" sz="2800" dirty="0">
                <a:solidFill>
                  <a:srgbClr val="00D7A0"/>
                </a:solidFill>
                <a:latin typeface="Arial"/>
                <a:ea typeface="+mn-ea"/>
              </a:rPr>
              <a:t>Datasets from many different sources in the transportation process offer value that is </a:t>
            </a:r>
            <a:r>
              <a:rPr lang="en-US" sz="2800" b="1" dirty="0">
                <a:solidFill>
                  <a:srgbClr val="00D7A0"/>
                </a:solidFill>
                <a:latin typeface="Arial"/>
                <a:ea typeface="+mn-ea"/>
              </a:rPr>
              <a:t>not being fully </a:t>
            </a:r>
            <a:r>
              <a:rPr lang="en-US" sz="2800" b="1" dirty="0" err="1">
                <a:solidFill>
                  <a:srgbClr val="00D7A0"/>
                </a:solidFill>
                <a:latin typeface="Arial"/>
                <a:ea typeface="+mn-ea"/>
              </a:rPr>
              <a:t>realised</a:t>
            </a:r>
            <a:r>
              <a:rPr lang="en-US" sz="2800" b="1" dirty="0">
                <a:solidFill>
                  <a:srgbClr val="00D7A0"/>
                </a:solidFill>
                <a:latin typeface="Arial"/>
                <a:ea typeface="+mn-ea"/>
              </a:rPr>
              <a:t> </a:t>
            </a:r>
            <a:br>
              <a:rPr lang="en-US" sz="2800" b="1" dirty="0">
                <a:solidFill>
                  <a:srgbClr val="00D7A0"/>
                </a:solidFill>
                <a:latin typeface="Arial"/>
                <a:ea typeface="+mn-ea"/>
              </a:rPr>
            </a:br>
            <a:r>
              <a:rPr lang="en-US" sz="2800" b="1" dirty="0">
                <a:solidFill>
                  <a:srgbClr val="00D7A0"/>
                </a:solidFill>
                <a:latin typeface="Arial"/>
                <a:ea typeface="+mn-ea"/>
              </a:rPr>
              <a:t>as of now.</a:t>
            </a:r>
          </a:p>
        </p:txBody>
      </p:sp>
      <p:sp>
        <p:nvSpPr>
          <p:cNvPr id="2" name="Fußzeilenplatzhalter 1">
            <a:extLst>
              <a:ext uri="{FF2B5EF4-FFF2-40B4-BE49-F238E27FC236}">
                <a16:creationId xmlns:a16="http://schemas.microsoft.com/office/drawing/2014/main" id="{163146BD-7026-4321-ACA0-B3EC367576D6}"/>
              </a:ext>
            </a:extLst>
          </p:cNvPr>
          <p:cNvSpPr>
            <a:spLocks noGrp="1"/>
          </p:cNvSpPr>
          <p:nvPr>
            <p:ph type="ftr" sz="quarter" idx="10"/>
          </p:nvPr>
        </p:nvSpPr>
        <p:spPr/>
        <p:txBody>
          <a:bodyPr/>
          <a:lstStyle/>
          <a:p>
            <a:pPr fontAlgn="auto">
              <a:spcBef>
                <a:spcPts val="0"/>
              </a:spcBef>
              <a:spcAft>
                <a:spcPts val="0"/>
              </a:spcAft>
            </a:pPr>
            <a:r>
              <a:rPr lang="en-US">
                <a:solidFill>
                  <a:prstClr val="white"/>
                </a:solidFill>
                <a:latin typeface="Arial"/>
                <a:ea typeface="+mn-ea"/>
              </a:rPr>
              <a:t>Restricted | © Siemens 2022 | September 2021</a:t>
            </a:r>
            <a:endParaRPr lang="en-US" dirty="0">
              <a:solidFill>
                <a:prstClr val="white"/>
              </a:solidFill>
              <a:latin typeface="Arial"/>
              <a:ea typeface="+mn-ea"/>
            </a:endParaRPr>
          </a:p>
        </p:txBody>
      </p:sp>
      <p:sp>
        <p:nvSpPr>
          <p:cNvPr id="7" name="Foliennummernplatzhalter 6">
            <a:extLst>
              <a:ext uri="{FF2B5EF4-FFF2-40B4-BE49-F238E27FC236}">
                <a16:creationId xmlns:a16="http://schemas.microsoft.com/office/drawing/2014/main" id="{59EB4D13-6FCF-4112-AC2D-0EF43B75276C}"/>
              </a:ext>
            </a:extLst>
          </p:cNvPr>
          <p:cNvSpPr>
            <a:spLocks noGrp="1"/>
          </p:cNvSpPr>
          <p:nvPr>
            <p:ph type="sldNum" sz="quarter" idx="11"/>
          </p:nvPr>
        </p:nvSpPr>
        <p:spPr/>
        <p:txBody>
          <a:bodyPr/>
          <a:lstStyle/>
          <a:p>
            <a:pPr fontAlgn="auto">
              <a:spcBef>
                <a:spcPts val="0"/>
              </a:spcBef>
              <a:spcAft>
                <a:spcPts val="0"/>
              </a:spcAft>
            </a:pPr>
            <a:r>
              <a:rPr lang="en-US">
                <a:solidFill>
                  <a:prstClr val="white"/>
                </a:solidFill>
                <a:latin typeface="Arial"/>
                <a:ea typeface="+mn-ea"/>
              </a:rPr>
              <a:t>Page </a:t>
            </a:r>
            <a:fld id="{15EBE321-CBB1-4E91-BD14-37C8D44326FB}" type="slidenum">
              <a:rPr lang="en-US">
                <a:solidFill>
                  <a:prstClr val="white"/>
                </a:solidFill>
                <a:latin typeface="Arial"/>
                <a:ea typeface="+mn-ea"/>
              </a:rPr>
              <a:pPr fontAlgn="auto">
                <a:spcBef>
                  <a:spcPts val="0"/>
                </a:spcBef>
                <a:spcAft>
                  <a:spcPts val="0"/>
                </a:spcAft>
              </a:pPr>
              <a:t>6</a:t>
            </a:fld>
            <a:endParaRPr lang="en-US" dirty="0">
              <a:solidFill>
                <a:prstClr val="white"/>
              </a:solidFill>
              <a:latin typeface="Arial"/>
              <a:ea typeface="+mn-ea"/>
            </a:endParaRPr>
          </a:p>
        </p:txBody>
      </p:sp>
      <p:sp>
        <p:nvSpPr>
          <p:cNvPr id="37" name="Freihandform: Form 36">
            <a:extLst>
              <a:ext uri="{FF2B5EF4-FFF2-40B4-BE49-F238E27FC236}">
                <a16:creationId xmlns:a16="http://schemas.microsoft.com/office/drawing/2014/main" id="{1146C7F2-2A80-4072-B51F-B437BFC55768}"/>
              </a:ext>
            </a:extLst>
          </p:cNvPr>
          <p:cNvSpPr/>
          <p:nvPr/>
        </p:nvSpPr>
        <p:spPr>
          <a:xfrm>
            <a:off x="10547378" y="4292184"/>
            <a:ext cx="1312078" cy="1538328"/>
          </a:xfrm>
          <a:custGeom>
            <a:avLst/>
            <a:gdLst>
              <a:gd name="connsiteX0" fmla="*/ 166088 w 441066"/>
              <a:gd name="connsiteY0" fmla="*/ 196510 h 517122"/>
              <a:gd name="connsiteX1" fmla="*/ 298399 w 441066"/>
              <a:gd name="connsiteY1" fmla="*/ 182318 h 517122"/>
              <a:gd name="connsiteX2" fmla="*/ 334616 w 441066"/>
              <a:gd name="connsiteY2" fmla="*/ 168690 h 517122"/>
              <a:gd name="connsiteX3" fmla="*/ 334616 w 441066"/>
              <a:gd name="connsiteY3" fmla="*/ 67202 h 517122"/>
              <a:gd name="connsiteX4" fmla="*/ 304489 w 441066"/>
              <a:gd name="connsiteY4" fmla="*/ 77316 h 517122"/>
              <a:gd name="connsiteX5" fmla="*/ 166088 w 441066"/>
              <a:gd name="connsiteY5" fmla="*/ 92286 h 517122"/>
              <a:gd name="connsiteX6" fmla="*/ 27686 w 441066"/>
              <a:gd name="connsiteY6" fmla="*/ 77316 h 517122"/>
              <a:gd name="connsiteX7" fmla="*/ 0 w 441066"/>
              <a:gd name="connsiteY7" fmla="*/ 68222 h 517122"/>
              <a:gd name="connsiteX8" fmla="*/ 0 w 441066"/>
              <a:gd name="connsiteY8" fmla="*/ 170058 h 517122"/>
              <a:gd name="connsiteX9" fmla="*/ 33749 w 441066"/>
              <a:gd name="connsiteY9" fmla="*/ 182318 h 517122"/>
              <a:gd name="connsiteX10" fmla="*/ 166088 w 441066"/>
              <a:gd name="connsiteY10" fmla="*/ 196510 h 517122"/>
              <a:gd name="connsiteX11" fmla="*/ 53333 w 441066"/>
              <a:gd name="connsiteY11" fmla="*/ 115465 h 517122"/>
              <a:gd name="connsiteX12" fmla="*/ 71119 w 441066"/>
              <a:gd name="connsiteY12" fmla="*/ 133251 h 517122"/>
              <a:gd name="connsiteX13" fmla="*/ 53333 w 441066"/>
              <a:gd name="connsiteY13" fmla="*/ 151037 h 517122"/>
              <a:gd name="connsiteX14" fmla="*/ 35546 w 441066"/>
              <a:gd name="connsiteY14" fmla="*/ 133251 h 517122"/>
              <a:gd name="connsiteX15" fmla="*/ 53333 w 441066"/>
              <a:gd name="connsiteY15" fmla="*/ 115465 h 517122"/>
              <a:gd name="connsiteX16" fmla="*/ 33749 w 441066"/>
              <a:gd name="connsiteY16" fmla="*/ 55935 h 517122"/>
              <a:gd name="connsiteX17" fmla="*/ 0 w 441066"/>
              <a:gd name="connsiteY17" fmla="*/ 43675 h 517122"/>
              <a:gd name="connsiteX18" fmla="*/ 0 w 441066"/>
              <a:gd name="connsiteY18" fmla="*/ 28544 h 517122"/>
              <a:gd name="connsiteX19" fmla="*/ 32810 w 441066"/>
              <a:gd name="connsiteY19" fmla="*/ 13870 h 517122"/>
              <a:gd name="connsiteX20" fmla="*/ 166088 w 441066"/>
              <a:gd name="connsiteY20" fmla="*/ 0 h 517122"/>
              <a:gd name="connsiteX21" fmla="*/ 298399 w 441066"/>
              <a:gd name="connsiteY21" fmla="*/ 14192 h 517122"/>
              <a:gd name="connsiteX22" fmla="*/ 334616 w 441066"/>
              <a:gd name="connsiteY22" fmla="*/ 28544 h 517122"/>
              <a:gd name="connsiteX23" fmla="*/ 334616 w 441066"/>
              <a:gd name="connsiteY23" fmla="*/ 43755 h 517122"/>
              <a:gd name="connsiteX24" fmla="*/ 298399 w 441066"/>
              <a:gd name="connsiteY24" fmla="*/ 55908 h 517122"/>
              <a:gd name="connsiteX25" fmla="*/ 166088 w 441066"/>
              <a:gd name="connsiteY25" fmla="*/ 70100 h 517122"/>
              <a:gd name="connsiteX26" fmla="*/ 33749 w 441066"/>
              <a:gd name="connsiteY26" fmla="*/ 55935 h 517122"/>
              <a:gd name="connsiteX27" fmla="*/ 441067 w 441066"/>
              <a:gd name="connsiteY27" fmla="*/ 403053 h 517122"/>
              <a:gd name="connsiteX28" fmla="*/ 326997 w 441066"/>
              <a:gd name="connsiteY28" fmla="*/ 517122 h 517122"/>
              <a:gd name="connsiteX29" fmla="*/ 223551 w 441066"/>
              <a:gd name="connsiteY29" fmla="*/ 451154 h 517122"/>
              <a:gd name="connsiteX30" fmla="*/ 256871 w 441066"/>
              <a:gd name="connsiteY30" fmla="*/ 428914 h 517122"/>
              <a:gd name="connsiteX31" fmla="*/ 302719 w 441066"/>
              <a:gd name="connsiteY31" fmla="*/ 465560 h 517122"/>
              <a:gd name="connsiteX32" fmla="*/ 381510 w 441066"/>
              <a:gd name="connsiteY32" fmla="*/ 399833 h 517122"/>
              <a:gd name="connsiteX33" fmla="*/ 383147 w 441066"/>
              <a:gd name="connsiteY33" fmla="*/ 423334 h 517122"/>
              <a:gd name="connsiteX34" fmla="*/ 396936 w 441066"/>
              <a:gd name="connsiteY34" fmla="*/ 423334 h 517122"/>
              <a:gd name="connsiteX35" fmla="*/ 396936 w 441066"/>
              <a:gd name="connsiteY35" fmla="*/ 365736 h 517122"/>
              <a:gd name="connsiteX36" fmla="*/ 339338 w 441066"/>
              <a:gd name="connsiteY36" fmla="*/ 365736 h 517122"/>
              <a:gd name="connsiteX37" fmla="*/ 339338 w 441066"/>
              <a:gd name="connsiteY37" fmla="*/ 379525 h 517122"/>
              <a:gd name="connsiteX38" fmla="*/ 362248 w 441066"/>
              <a:gd name="connsiteY38" fmla="*/ 381135 h 517122"/>
              <a:gd name="connsiteX39" fmla="*/ 302128 w 441066"/>
              <a:gd name="connsiteY39" fmla="*/ 430872 h 517122"/>
              <a:gd name="connsiteX40" fmla="*/ 257944 w 441066"/>
              <a:gd name="connsiteY40" fmla="*/ 395943 h 517122"/>
              <a:gd name="connsiteX41" fmla="*/ 214940 w 441066"/>
              <a:gd name="connsiteY41" fmla="*/ 424541 h 517122"/>
              <a:gd name="connsiteX42" fmla="*/ 212901 w 441066"/>
              <a:gd name="connsiteY42" fmla="*/ 403106 h 517122"/>
              <a:gd name="connsiteX43" fmla="*/ 326971 w 441066"/>
              <a:gd name="connsiteY43" fmla="*/ 289037 h 517122"/>
              <a:gd name="connsiteX44" fmla="*/ 441067 w 441066"/>
              <a:gd name="connsiteY44" fmla="*/ 403053 h 517122"/>
              <a:gd name="connsiteX45" fmla="*/ 325173 w 441066"/>
              <a:gd name="connsiteY45" fmla="*/ 250701 h 517122"/>
              <a:gd name="connsiteX46" fmla="*/ 334616 w 441066"/>
              <a:gd name="connsiteY46" fmla="*/ 251049 h 517122"/>
              <a:gd name="connsiteX47" fmla="*/ 334616 w 441066"/>
              <a:gd name="connsiteY47" fmla="*/ 193612 h 517122"/>
              <a:gd name="connsiteX48" fmla="*/ 304489 w 441066"/>
              <a:gd name="connsiteY48" fmla="*/ 203699 h 517122"/>
              <a:gd name="connsiteX49" fmla="*/ 166088 w 441066"/>
              <a:gd name="connsiteY49" fmla="*/ 218669 h 517122"/>
              <a:gd name="connsiteX50" fmla="*/ 27686 w 441066"/>
              <a:gd name="connsiteY50" fmla="*/ 203699 h 517122"/>
              <a:gd name="connsiteX51" fmla="*/ 0 w 441066"/>
              <a:gd name="connsiteY51" fmla="*/ 194632 h 517122"/>
              <a:gd name="connsiteX52" fmla="*/ 0 w 441066"/>
              <a:gd name="connsiteY52" fmla="*/ 296173 h 517122"/>
              <a:gd name="connsiteX53" fmla="*/ 7994 w 441066"/>
              <a:gd name="connsiteY53" fmla="*/ 300251 h 517122"/>
              <a:gd name="connsiteX54" fmla="*/ 33749 w 441066"/>
              <a:gd name="connsiteY54" fmla="*/ 308701 h 517122"/>
              <a:gd name="connsiteX55" fmla="*/ 166061 w 441066"/>
              <a:gd name="connsiteY55" fmla="*/ 322893 h 517122"/>
              <a:gd name="connsiteX56" fmla="*/ 197395 w 441066"/>
              <a:gd name="connsiteY56" fmla="*/ 322222 h 517122"/>
              <a:gd name="connsiteX57" fmla="*/ 325173 w 441066"/>
              <a:gd name="connsiteY57" fmla="*/ 250701 h 517122"/>
              <a:gd name="connsiteX58" fmla="*/ 53333 w 441066"/>
              <a:gd name="connsiteY58" fmla="*/ 277152 h 517122"/>
              <a:gd name="connsiteX59" fmla="*/ 35546 w 441066"/>
              <a:gd name="connsiteY59" fmla="*/ 259366 h 517122"/>
              <a:gd name="connsiteX60" fmla="*/ 53333 w 441066"/>
              <a:gd name="connsiteY60" fmla="*/ 241579 h 517122"/>
              <a:gd name="connsiteX61" fmla="*/ 71119 w 441066"/>
              <a:gd name="connsiteY61" fmla="*/ 259366 h 517122"/>
              <a:gd name="connsiteX62" fmla="*/ 53333 w 441066"/>
              <a:gd name="connsiteY62" fmla="*/ 277152 h 517122"/>
              <a:gd name="connsiteX63" fmla="*/ 174913 w 441066"/>
              <a:gd name="connsiteY63" fmla="*/ 403079 h 517122"/>
              <a:gd name="connsiteX64" fmla="*/ 176443 w 441066"/>
              <a:gd name="connsiteY64" fmla="*/ 381671 h 517122"/>
              <a:gd name="connsiteX65" fmla="*/ 186020 w 441066"/>
              <a:gd name="connsiteY65" fmla="*/ 344811 h 517122"/>
              <a:gd name="connsiteX66" fmla="*/ 166088 w 441066"/>
              <a:gd name="connsiteY66" fmla="*/ 345079 h 517122"/>
              <a:gd name="connsiteX67" fmla="*/ 27686 w 441066"/>
              <a:gd name="connsiteY67" fmla="*/ 330109 h 517122"/>
              <a:gd name="connsiteX68" fmla="*/ 0 w 441066"/>
              <a:gd name="connsiteY68" fmla="*/ 321042 h 517122"/>
              <a:gd name="connsiteX69" fmla="*/ 0 w 441066"/>
              <a:gd name="connsiteY69" fmla="*/ 416654 h 517122"/>
              <a:gd name="connsiteX70" fmla="*/ 168341 w 441066"/>
              <a:gd name="connsiteY70" fmla="*/ 463736 h 517122"/>
              <a:gd name="connsiteX71" fmla="*/ 187361 w 441066"/>
              <a:gd name="connsiteY71" fmla="*/ 463387 h 517122"/>
              <a:gd name="connsiteX72" fmla="*/ 174913 w 441066"/>
              <a:gd name="connsiteY72" fmla="*/ 403079 h 517122"/>
              <a:gd name="connsiteX73" fmla="*/ 53252 w 441066"/>
              <a:gd name="connsiteY73" fmla="*/ 410055 h 517122"/>
              <a:gd name="connsiteX74" fmla="*/ 35466 w 441066"/>
              <a:gd name="connsiteY74" fmla="*/ 392268 h 517122"/>
              <a:gd name="connsiteX75" fmla="*/ 53252 w 441066"/>
              <a:gd name="connsiteY75" fmla="*/ 374482 h 517122"/>
              <a:gd name="connsiteX76" fmla="*/ 71039 w 441066"/>
              <a:gd name="connsiteY76" fmla="*/ 392268 h 517122"/>
              <a:gd name="connsiteX77" fmla="*/ 53252 w 441066"/>
              <a:gd name="connsiteY77" fmla="*/ 410055 h 51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41066" h="517122">
                <a:moveTo>
                  <a:pt x="166088" y="196510"/>
                </a:moveTo>
                <a:cubicBezTo>
                  <a:pt x="216281" y="196510"/>
                  <a:pt x="263283" y="191466"/>
                  <a:pt x="298399" y="182318"/>
                </a:cubicBezTo>
                <a:cubicBezTo>
                  <a:pt x="316669" y="177570"/>
                  <a:pt x="327936" y="172660"/>
                  <a:pt x="334616" y="168690"/>
                </a:cubicBezTo>
                <a:lnTo>
                  <a:pt x="334616" y="67202"/>
                </a:lnTo>
                <a:cubicBezTo>
                  <a:pt x="326192" y="70878"/>
                  <a:pt x="316159" y="74258"/>
                  <a:pt x="304489" y="77316"/>
                </a:cubicBezTo>
                <a:cubicBezTo>
                  <a:pt x="267441" y="86974"/>
                  <a:pt x="218266" y="92286"/>
                  <a:pt x="166088" y="92286"/>
                </a:cubicBezTo>
                <a:cubicBezTo>
                  <a:pt x="113908" y="92286"/>
                  <a:pt x="64734" y="86974"/>
                  <a:pt x="27686" y="77316"/>
                </a:cubicBezTo>
                <a:cubicBezTo>
                  <a:pt x="17116" y="74553"/>
                  <a:pt x="7914" y="71521"/>
                  <a:pt x="0" y="68222"/>
                </a:cubicBezTo>
                <a:lnTo>
                  <a:pt x="0" y="170058"/>
                </a:lnTo>
                <a:cubicBezTo>
                  <a:pt x="6868" y="173760"/>
                  <a:pt x="17518" y="178079"/>
                  <a:pt x="33749" y="182318"/>
                </a:cubicBezTo>
                <a:cubicBezTo>
                  <a:pt x="68892" y="191466"/>
                  <a:pt x="115893" y="196510"/>
                  <a:pt x="166088" y="196510"/>
                </a:cubicBezTo>
                <a:close/>
                <a:moveTo>
                  <a:pt x="53333" y="115465"/>
                </a:moveTo>
                <a:cubicBezTo>
                  <a:pt x="63151" y="115465"/>
                  <a:pt x="71119" y="123432"/>
                  <a:pt x="71119" y="133251"/>
                </a:cubicBezTo>
                <a:cubicBezTo>
                  <a:pt x="71119" y="143070"/>
                  <a:pt x="63151" y="151037"/>
                  <a:pt x="53333" y="151037"/>
                </a:cubicBezTo>
                <a:cubicBezTo>
                  <a:pt x="43514" y="151037"/>
                  <a:pt x="35546" y="143070"/>
                  <a:pt x="35546" y="133251"/>
                </a:cubicBezTo>
                <a:cubicBezTo>
                  <a:pt x="35546" y="123432"/>
                  <a:pt x="43514" y="115465"/>
                  <a:pt x="53333" y="115465"/>
                </a:cubicBezTo>
                <a:close/>
                <a:moveTo>
                  <a:pt x="33749" y="55935"/>
                </a:moveTo>
                <a:cubicBezTo>
                  <a:pt x="17545" y="51723"/>
                  <a:pt x="6868" y="47377"/>
                  <a:pt x="0" y="43675"/>
                </a:cubicBezTo>
                <a:lnTo>
                  <a:pt x="0" y="28544"/>
                </a:lnTo>
                <a:cubicBezTo>
                  <a:pt x="724" y="26371"/>
                  <a:pt x="19289" y="17384"/>
                  <a:pt x="32810" y="13870"/>
                </a:cubicBezTo>
                <a:cubicBezTo>
                  <a:pt x="67953" y="4722"/>
                  <a:pt x="115893" y="0"/>
                  <a:pt x="166088" y="0"/>
                </a:cubicBezTo>
                <a:cubicBezTo>
                  <a:pt x="216281" y="0"/>
                  <a:pt x="263283" y="5044"/>
                  <a:pt x="298399" y="14192"/>
                </a:cubicBezTo>
                <a:cubicBezTo>
                  <a:pt x="316669" y="18967"/>
                  <a:pt x="327936" y="24574"/>
                  <a:pt x="334616" y="28544"/>
                </a:cubicBezTo>
                <a:lnTo>
                  <a:pt x="334616" y="43755"/>
                </a:lnTo>
                <a:cubicBezTo>
                  <a:pt x="327936" y="47699"/>
                  <a:pt x="316669" y="51160"/>
                  <a:pt x="298399" y="55908"/>
                </a:cubicBezTo>
                <a:cubicBezTo>
                  <a:pt x="263256" y="65056"/>
                  <a:pt x="216281" y="70100"/>
                  <a:pt x="166088" y="70100"/>
                </a:cubicBezTo>
                <a:cubicBezTo>
                  <a:pt x="115893" y="70100"/>
                  <a:pt x="68892" y="65083"/>
                  <a:pt x="33749" y="55935"/>
                </a:cubicBezTo>
                <a:close/>
                <a:moveTo>
                  <a:pt x="441067" y="403053"/>
                </a:moveTo>
                <a:cubicBezTo>
                  <a:pt x="441067" y="466070"/>
                  <a:pt x="389988" y="517122"/>
                  <a:pt x="326997" y="517122"/>
                </a:cubicBezTo>
                <a:cubicBezTo>
                  <a:pt x="281203" y="517122"/>
                  <a:pt x="241713" y="490107"/>
                  <a:pt x="223551" y="451154"/>
                </a:cubicBezTo>
                <a:lnTo>
                  <a:pt x="256871" y="428914"/>
                </a:lnTo>
                <a:lnTo>
                  <a:pt x="302719" y="465560"/>
                </a:lnTo>
                <a:lnTo>
                  <a:pt x="381510" y="399833"/>
                </a:lnTo>
                <a:lnTo>
                  <a:pt x="383147" y="423334"/>
                </a:lnTo>
                <a:lnTo>
                  <a:pt x="396936" y="423334"/>
                </a:lnTo>
                <a:lnTo>
                  <a:pt x="396936" y="365736"/>
                </a:lnTo>
                <a:lnTo>
                  <a:pt x="339338" y="365736"/>
                </a:lnTo>
                <a:lnTo>
                  <a:pt x="339338" y="379525"/>
                </a:lnTo>
                <a:lnTo>
                  <a:pt x="362248" y="381135"/>
                </a:lnTo>
                <a:lnTo>
                  <a:pt x="302128" y="430872"/>
                </a:lnTo>
                <a:lnTo>
                  <a:pt x="257944" y="395943"/>
                </a:lnTo>
                <a:lnTo>
                  <a:pt x="214940" y="424541"/>
                </a:lnTo>
                <a:cubicBezTo>
                  <a:pt x="213625" y="417593"/>
                  <a:pt x="212901" y="410430"/>
                  <a:pt x="212901" y="403106"/>
                </a:cubicBezTo>
                <a:cubicBezTo>
                  <a:pt x="212901" y="340116"/>
                  <a:pt x="263980" y="289037"/>
                  <a:pt x="326971" y="289037"/>
                </a:cubicBezTo>
                <a:cubicBezTo>
                  <a:pt x="389988" y="289010"/>
                  <a:pt x="441067" y="340062"/>
                  <a:pt x="441067" y="403053"/>
                </a:cubicBezTo>
                <a:close/>
                <a:moveTo>
                  <a:pt x="325173" y="250701"/>
                </a:moveTo>
                <a:cubicBezTo>
                  <a:pt x="328339" y="250701"/>
                  <a:pt x="331477" y="250862"/>
                  <a:pt x="334616" y="251049"/>
                </a:cubicBezTo>
                <a:lnTo>
                  <a:pt x="334616" y="193612"/>
                </a:lnTo>
                <a:cubicBezTo>
                  <a:pt x="326192" y="197288"/>
                  <a:pt x="316159" y="200668"/>
                  <a:pt x="304489" y="203699"/>
                </a:cubicBezTo>
                <a:cubicBezTo>
                  <a:pt x="267441" y="213357"/>
                  <a:pt x="218266" y="218669"/>
                  <a:pt x="166088" y="218669"/>
                </a:cubicBezTo>
                <a:cubicBezTo>
                  <a:pt x="113908" y="218669"/>
                  <a:pt x="64734" y="213357"/>
                  <a:pt x="27686" y="203699"/>
                </a:cubicBezTo>
                <a:cubicBezTo>
                  <a:pt x="17116" y="200936"/>
                  <a:pt x="7914" y="197905"/>
                  <a:pt x="0" y="194632"/>
                </a:cubicBezTo>
                <a:lnTo>
                  <a:pt x="0" y="296173"/>
                </a:lnTo>
                <a:cubicBezTo>
                  <a:pt x="0" y="296173"/>
                  <a:pt x="3729" y="298480"/>
                  <a:pt x="7994" y="300251"/>
                </a:cubicBezTo>
                <a:cubicBezTo>
                  <a:pt x="14433" y="302933"/>
                  <a:pt x="22830" y="305857"/>
                  <a:pt x="33749" y="308701"/>
                </a:cubicBezTo>
                <a:cubicBezTo>
                  <a:pt x="68892" y="317849"/>
                  <a:pt x="115867" y="322893"/>
                  <a:pt x="166061" y="322893"/>
                </a:cubicBezTo>
                <a:cubicBezTo>
                  <a:pt x="176684" y="322893"/>
                  <a:pt x="187147" y="322651"/>
                  <a:pt x="197395" y="322222"/>
                </a:cubicBezTo>
                <a:cubicBezTo>
                  <a:pt x="223820" y="279352"/>
                  <a:pt x="271223" y="250701"/>
                  <a:pt x="325173" y="250701"/>
                </a:cubicBezTo>
                <a:close/>
                <a:moveTo>
                  <a:pt x="53333" y="277152"/>
                </a:moveTo>
                <a:cubicBezTo>
                  <a:pt x="43514" y="277152"/>
                  <a:pt x="35546" y="269185"/>
                  <a:pt x="35546" y="259366"/>
                </a:cubicBezTo>
                <a:cubicBezTo>
                  <a:pt x="35546" y="249547"/>
                  <a:pt x="43514" y="241579"/>
                  <a:pt x="53333" y="241579"/>
                </a:cubicBezTo>
                <a:cubicBezTo>
                  <a:pt x="63151" y="241579"/>
                  <a:pt x="71119" y="249547"/>
                  <a:pt x="71119" y="259366"/>
                </a:cubicBezTo>
                <a:cubicBezTo>
                  <a:pt x="71119" y="269185"/>
                  <a:pt x="63178" y="277152"/>
                  <a:pt x="53333" y="277152"/>
                </a:cubicBezTo>
                <a:close/>
                <a:moveTo>
                  <a:pt x="174913" y="403079"/>
                </a:moveTo>
                <a:cubicBezTo>
                  <a:pt x="174913" y="395809"/>
                  <a:pt x="175450" y="388673"/>
                  <a:pt x="176443" y="381671"/>
                </a:cubicBezTo>
                <a:cubicBezTo>
                  <a:pt x="178079" y="368821"/>
                  <a:pt x="181325" y="356454"/>
                  <a:pt x="186020" y="344811"/>
                </a:cubicBezTo>
                <a:cubicBezTo>
                  <a:pt x="179448" y="344972"/>
                  <a:pt x="172794" y="345079"/>
                  <a:pt x="166088" y="345079"/>
                </a:cubicBezTo>
                <a:cubicBezTo>
                  <a:pt x="113881" y="345079"/>
                  <a:pt x="64734" y="339767"/>
                  <a:pt x="27686" y="330109"/>
                </a:cubicBezTo>
                <a:cubicBezTo>
                  <a:pt x="17116" y="327346"/>
                  <a:pt x="7914" y="324315"/>
                  <a:pt x="0" y="321042"/>
                </a:cubicBezTo>
                <a:lnTo>
                  <a:pt x="0" y="416654"/>
                </a:lnTo>
                <a:cubicBezTo>
                  <a:pt x="7056" y="442998"/>
                  <a:pt x="79677" y="463736"/>
                  <a:pt x="168341" y="463736"/>
                </a:cubicBezTo>
                <a:cubicBezTo>
                  <a:pt x="174780" y="463736"/>
                  <a:pt x="181110" y="463602"/>
                  <a:pt x="187361" y="463387"/>
                </a:cubicBezTo>
                <a:cubicBezTo>
                  <a:pt x="179367" y="444876"/>
                  <a:pt x="174913" y="424514"/>
                  <a:pt x="174913" y="403079"/>
                </a:cubicBezTo>
                <a:close/>
                <a:moveTo>
                  <a:pt x="53252" y="410055"/>
                </a:moveTo>
                <a:cubicBezTo>
                  <a:pt x="43433" y="410055"/>
                  <a:pt x="35466" y="402087"/>
                  <a:pt x="35466" y="392268"/>
                </a:cubicBezTo>
                <a:cubicBezTo>
                  <a:pt x="35466" y="382449"/>
                  <a:pt x="43433" y="374482"/>
                  <a:pt x="53252" y="374482"/>
                </a:cubicBezTo>
                <a:cubicBezTo>
                  <a:pt x="63071" y="374482"/>
                  <a:pt x="71039" y="382449"/>
                  <a:pt x="71039" y="392268"/>
                </a:cubicBezTo>
                <a:cubicBezTo>
                  <a:pt x="71039" y="402087"/>
                  <a:pt x="63071" y="410055"/>
                  <a:pt x="53252" y="410055"/>
                </a:cubicBezTo>
                <a:close/>
              </a:path>
            </a:pathLst>
          </a:custGeom>
          <a:solidFill>
            <a:schemeClr val="tx1">
              <a:alpha val="15000"/>
            </a:schemeClr>
          </a:solidFill>
          <a:ln w="6458" cap="flat">
            <a:noFill/>
            <a:prstDash val="solid"/>
            <a:miter/>
          </a:ln>
        </p:spPr>
        <p:txBody>
          <a:bodyPr rtlCol="0" anchor="ctr"/>
          <a:lstStyle/>
          <a:p>
            <a:pPr fontAlgn="auto">
              <a:spcBef>
                <a:spcPts val="0"/>
              </a:spcBef>
              <a:spcAft>
                <a:spcPts val="0"/>
              </a:spcAft>
            </a:pPr>
            <a:endParaRPr lang="en-US">
              <a:solidFill>
                <a:prstClr val="white"/>
              </a:solidFill>
              <a:latin typeface="Arial"/>
              <a:ea typeface="+mn-ea"/>
            </a:endParaRPr>
          </a:p>
        </p:txBody>
      </p:sp>
      <p:sp>
        <p:nvSpPr>
          <p:cNvPr id="41" name="Freihandform: Form 40">
            <a:extLst>
              <a:ext uri="{FF2B5EF4-FFF2-40B4-BE49-F238E27FC236}">
                <a16:creationId xmlns:a16="http://schemas.microsoft.com/office/drawing/2014/main" id="{BE594EC9-DADA-464F-B195-074013B594EC}"/>
              </a:ext>
            </a:extLst>
          </p:cNvPr>
          <p:cNvSpPr/>
          <p:nvPr/>
        </p:nvSpPr>
        <p:spPr>
          <a:xfrm>
            <a:off x="10591828" y="4323934"/>
            <a:ext cx="1312078" cy="1538328"/>
          </a:xfrm>
          <a:custGeom>
            <a:avLst/>
            <a:gdLst>
              <a:gd name="connsiteX0" fmla="*/ 166088 w 441066"/>
              <a:gd name="connsiteY0" fmla="*/ 196510 h 517122"/>
              <a:gd name="connsiteX1" fmla="*/ 298399 w 441066"/>
              <a:gd name="connsiteY1" fmla="*/ 182318 h 517122"/>
              <a:gd name="connsiteX2" fmla="*/ 334616 w 441066"/>
              <a:gd name="connsiteY2" fmla="*/ 168690 h 517122"/>
              <a:gd name="connsiteX3" fmla="*/ 334616 w 441066"/>
              <a:gd name="connsiteY3" fmla="*/ 67202 h 517122"/>
              <a:gd name="connsiteX4" fmla="*/ 304489 w 441066"/>
              <a:gd name="connsiteY4" fmla="*/ 77316 h 517122"/>
              <a:gd name="connsiteX5" fmla="*/ 166088 w 441066"/>
              <a:gd name="connsiteY5" fmla="*/ 92286 h 517122"/>
              <a:gd name="connsiteX6" fmla="*/ 27686 w 441066"/>
              <a:gd name="connsiteY6" fmla="*/ 77316 h 517122"/>
              <a:gd name="connsiteX7" fmla="*/ 0 w 441066"/>
              <a:gd name="connsiteY7" fmla="*/ 68222 h 517122"/>
              <a:gd name="connsiteX8" fmla="*/ 0 w 441066"/>
              <a:gd name="connsiteY8" fmla="*/ 170058 h 517122"/>
              <a:gd name="connsiteX9" fmla="*/ 33749 w 441066"/>
              <a:gd name="connsiteY9" fmla="*/ 182318 h 517122"/>
              <a:gd name="connsiteX10" fmla="*/ 166088 w 441066"/>
              <a:gd name="connsiteY10" fmla="*/ 196510 h 517122"/>
              <a:gd name="connsiteX11" fmla="*/ 53333 w 441066"/>
              <a:gd name="connsiteY11" fmla="*/ 115465 h 517122"/>
              <a:gd name="connsiteX12" fmla="*/ 71119 w 441066"/>
              <a:gd name="connsiteY12" fmla="*/ 133251 h 517122"/>
              <a:gd name="connsiteX13" fmla="*/ 53333 w 441066"/>
              <a:gd name="connsiteY13" fmla="*/ 151037 h 517122"/>
              <a:gd name="connsiteX14" fmla="*/ 35546 w 441066"/>
              <a:gd name="connsiteY14" fmla="*/ 133251 h 517122"/>
              <a:gd name="connsiteX15" fmla="*/ 53333 w 441066"/>
              <a:gd name="connsiteY15" fmla="*/ 115465 h 517122"/>
              <a:gd name="connsiteX16" fmla="*/ 33749 w 441066"/>
              <a:gd name="connsiteY16" fmla="*/ 55935 h 517122"/>
              <a:gd name="connsiteX17" fmla="*/ 0 w 441066"/>
              <a:gd name="connsiteY17" fmla="*/ 43675 h 517122"/>
              <a:gd name="connsiteX18" fmla="*/ 0 w 441066"/>
              <a:gd name="connsiteY18" fmla="*/ 28544 h 517122"/>
              <a:gd name="connsiteX19" fmla="*/ 32810 w 441066"/>
              <a:gd name="connsiteY19" fmla="*/ 13870 h 517122"/>
              <a:gd name="connsiteX20" fmla="*/ 166088 w 441066"/>
              <a:gd name="connsiteY20" fmla="*/ 0 h 517122"/>
              <a:gd name="connsiteX21" fmla="*/ 298399 w 441066"/>
              <a:gd name="connsiteY21" fmla="*/ 14192 h 517122"/>
              <a:gd name="connsiteX22" fmla="*/ 334616 w 441066"/>
              <a:gd name="connsiteY22" fmla="*/ 28544 h 517122"/>
              <a:gd name="connsiteX23" fmla="*/ 334616 w 441066"/>
              <a:gd name="connsiteY23" fmla="*/ 43755 h 517122"/>
              <a:gd name="connsiteX24" fmla="*/ 298399 w 441066"/>
              <a:gd name="connsiteY24" fmla="*/ 55908 h 517122"/>
              <a:gd name="connsiteX25" fmla="*/ 166088 w 441066"/>
              <a:gd name="connsiteY25" fmla="*/ 70100 h 517122"/>
              <a:gd name="connsiteX26" fmla="*/ 33749 w 441066"/>
              <a:gd name="connsiteY26" fmla="*/ 55935 h 517122"/>
              <a:gd name="connsiteX27" fmla="*/ 441067 w 441066"/>
              <a:gd name="connsiteY27" fmla="*/ 403053 h 517122"/>
              <a:gd name="connsiteX28" fmla="*/ 326997 w 441066"/>
              <a:gd name="connsiteY28" fmla="*/ 517122 h 517122"/>
              <a:gd name="connsiteX29" fmla="*/ 223551 w 441066"/>
              <a:gd name="connsiteY29" fmla="*/ 451154 h 517122"/>
              <a:gd name="connsiteX30" fmla="*/ 256871 w 441066"/>
              <a:gd name="connsiteY30" fmla="*/ 428914 h 517122"/>
              <a:gd name="connsiteX31" fmla="*/ 302719 w 441066"/>
              <a:gd name="connsiteY31" fmla="*/ 465560 h 517122"/>
              <a:gd name="connsiteX32" fmla="*/ 381510 w 441066"/>
              <a:gd name="connsiteY32" fmla="*/ 399833 h 517122"/>
              <a:gd name="connsiteX33" fmla="*/ 383147 w 441066"/>
              <a:gd name="connsiteY33" fmla="*/ 423334 h 517122"/>
              <a:gd name="connsiteX34" fmla="*/ 396936 w 441066"/>
              <a:gd name="connsiteY34" fmla="*/ 423334 h 517122"/>
              <a:gd name="connsiteX35" fmla="*/ 396936 w 441066"/>
              <a:gd name="connsiteY35" fmla="*/ 365736 h 517122"/>
              <a:gd name="connsiteX36" fmla="*/ 339338 w 441066"/>
              <a:gd name="connsiteY36" fmla="*/ 365736 h 517122"/>
              <a:gd name="connsiteX37" fmla="*/ 339338 w 441066"/>
              <a:gd name="connsiteY37" fmla="*/ 379525 h 517122"/>
              <a:gd name="connsiteX38" fmla="*/ 362248 w 441066"/>
              <a:gd name="connsiteY38" fmla="*/ 381135 h 517122"/>
              <a:gd name="connsiteX39" fmla="*/ 302128 w 441066"/>
              <a:gd name="connsiteY39" fmla="*/ 430872 h 517122"/>
              <a:gd name="connsiteX40" fmla="*/ 257944 w 441066"/>
              <a:gd name="connsiteY40" fmla="*/ 395943 h 517122"/>
              <a:gd name="connsiteX41" fmla="*/ 214940 w 441066"/>
              <a:gd name="connsiteY41" fmla="*/ 424541 h 517122"/>
              <a:gd name="connsiteX42" fmla="*/ 212901 w 441066"/>
              <a:gd name="connsiteY42" fmla="*/ 403106 h 517122"/>
              <a:gd name="connsiteX43" fmla="*/ 326971 w 441066"/>
              <a:gd name="connsiteY43" fmla="*/ 289037 h 517122"/>
              <a:gd name="connsiteX44" fmla="*/ 441067 w 441066"/>
              <a:gd name="connsiteY44" fmla="*/ 403053 h 517122"/>
              <a:gd name="connsiteX45" fmla="*/ 325173 w 441066"/>
              <a:gd name="connsiteY45" fmla="*/ 250701 h 517122"/>
              <a:gd name="connsiteX46" fmla="*/ 334616 w 441066"/>
              <a:gd name="connsiteY46" fmla="*/ 251049 h 517122"/>
              <a:gd name="connsiteX47" fmla="*/ 334616 w 441066"/>
              <a:gd name="connsiteY47" fmla="*/ 193612 h 517122"/>
              <a:gd name="connsiteX48" fmla="*/ 304489 w 441066"/>
              <a:gd name="connsiteY48" fmla="*/ 203699 h 517122"/>
              <a:gd name="connsiteX49" fmla="*/ 166088 w 441066"/>
              <a:gd name="connsiteY49" fmla="*/ 218669 h 517122"/>
              <a:gd name="connsiteX50" fmla="*/ 27686 w 441066"/>
              <a:gd name="connsiteY50" fmla="*/ 203699 h 517122"/>
              <a:gd name="connsiteX51" fmla="*/ 0 w 441066"/>
              <a:gd name="connsiteY51" fmla="*/ 194632 h 517122"/>
              <a:gd name="connsiteX52" fmla="*/ 0 w 441066"/>
              <a:gd name="connsiteY52" fmla="*/ 296173 h 517122"/>
              <a:gd name="connsiteX53" fmla="*/ 7994 w 441066"/>
              <a:gd name="connsiteY53" fmla="*/ 300251 h 517122"/>
              <a:gd name="connsiteX54" fmla="*/ 33749 w 441066"/>
              <a:gd name="connsiteY54" fmla="*/ 308701 h 517122"/>
              <a:gd name="connsiteX55" fmla="*/ 166061 w 441066"/>
              <a:gd name="connsiteY55" fmla="*/ 322893 h 517122"/>
              <a:gd name="connsiteX56" fmla="*/ 197395 w 441066"/>
              <a:gd name="connsiteY56" fmla="*/ 322222 h 517122"/>
              <a:gd name="connsiteX57" fmla="*/ 325173 w 441066"/>
              <a:gd name="connsiteY57" fmla="*/ 250701 h 517122"/>
              <a:gd name="connsiteX58" fmla="*/ 53333 w 441066"/>
              <a:gd name="connsiteY58" fmla="*/ 277152 h 517122"/>
              <a:gd name="connsiteX59" fmla="*/ 35546 w 441066"/>
              <a:gd name="connsiteY59" fmla="*/ 259366 h 517122"/>
              <a:gd name="connsiteX60" fmla="*/ 53333 w 441066"/>
              <a:gd name="connsiteY60" fmla="*/ 241579 h 517122"/>
              <a:gd name="connsiteX61" fmla="*/ 71119 w 441066"/>
              <a:gd name="connsiteY61" fmla="*/ 259366 h 517122"/>
              <a:gd name="connsiteX62" fmla="*/ 53333 w 441066"/>
              <a:gd name="connsiteY62" fmla="*/ 277152 h 517122"/>
              <a:gd name="connsiteX63" fmla="*/ 174913 w 441066"/>
              <a:gd name="connsiteY63" fmla="*/ 403079 h 517122"/>
              <a:gd name="connsiteX64" fmla="*/ 176443 w 441066"/>
              <a:gd name="connsiteY64" fmla="*/ 381671 h 517122"/>
              <a:gd name="connsiteX65" fmla="*/ 186020 w 441066"/>
              <a:gd name="connsiteY65" fmla="*/ 344811 h 517122"/>
              <a:gd name="connsiteX66" fmla="*/ 166088 w 441066"/>
              <a:gd name="connsiteY66" fmla="*/ 345079 h 517122"/>
              <a:gd name="connsiteX67" fmla="*/ 27686 w 441066"/>
              <a:gd name="connsiteY67" fmla="*/ 330109 h 517122"/>
              <a:gd name="connsiteX68" fmla="*/ 0 w 441066"/>
              <a:gd name="connsiteY68" fmla="*/ 321042 h 517122"/>
              <a:gd name="connsiteX69" fmla="*/ 0 w 441066"/>
              <a:gd name="connsiteY69" fmla="*/ 416654 h 517122"/>
              <a:gd name="connsiteX70" fmla="*/ 168341 w 441066"/>
              <a:gd name="connsiteY70" fmla="*/ 463736 h 517122"/>
              <a:gd name="connsiteX71" fmla="*/ 187361 w 441066"/>
              <a:gd name="connsiteY71" fmla="*/ 463387 h 517122"/>
              <a:gd name="connsiteX72" fmla="*/ 174913 w 441066"/>
              <a:gd name="connsiteY72" fmla="*/ 403079 h 517122"/>
              <a:gd name="connsiteX73" fmla="*/ 53252 w 441066"/>
              <a:gd name="connsiteY73" fmla="*/ 410055 h 517122"/>
              <a:gd name="connsiteX74" fmla="*/ 35466 w 441066"/>
              <a:gd name="connsiteY74" fmla="*/ 392268 h 517122"/>
              <a:gd name="connsiteX75" fmla="*/ 53252 w 441066"/>
              <a:gd name="connsiteY75" fmla="*/ 374482 h 517122"/>
              <a:gd name="connsiteX76" fmla="*/ 71039 w 441066"/>
              <a:gd name="connsiteY76" fmla="*/ 392268 h 517122"/>
              <a:gd name="connsiteX77" fmla="*/ 53252 w 441066"/>
              <a:gd name="connsiteY77" fmla="*/ 410055 h 517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41066" h="517122">
                <a:moveTo>
                  <a:pt x="166088" y="196510"/>
                </a:moveTo>
                <a:cubicBezTo>
                  <a:pt x="216281" y="196510"/>
                  <a:pt x="263283" y="191466"/>
                  <a:pt x="298399" y="182318"/>
                </a:cubicBezTo>
                <a:cubicBezTo>
                  <a:pt x="316669" y="177570"/>
                  <a:pt x="327936" y="172660"/>
                  <a:pt x="334616" y="168690"/>
                </a:cubicBezTo>
                <a:lnTo>
                  <a:pt x="334616" y="67202"/>
                </a:lnTo>
                <a:cubicBezTo>
                  <a:pt x="326192" y="70878"/>
                  <a:pt x="316159" y="74258"/>
                  <a:pt x="304489" y="77316"/>
                </a:cubicBezTo>
                <a:cubicBezTo>
                  <a:pt x="267441" y="86974"/>
                  <a:pt x="218266" y="92286"/>
                  <a:pt x="166088" y="92286"/>
                </a:cubicBezTo>
                <a:cubicBezTo>
                  <a:pt x="113908" y="92286"/>
                  <a:pt x="64734" y="86974"/>
                  <a:pt x="27686" y="77316"/>
                </a:cubicBezTo>
                <a:cubicBezTo>
                  <a:pt x="17116" y="74553"/>
                  <a:pt x="7914" y="71521"/>
                  <a:pt x="0" y="68222"/>
                </a:cubicBezTo>
                <a:lnTo>
                  <a:pt x="0" y="170058"/>
                </a:lnTo>
                <a:cubicBezTo>
                  <a:pt x="6868" y="173760"/>
                  <a:pt x="17518" y="178079"/>
                  <a:pt x="33749" y="182318"/>
                </a:cubicBezTo>
                <a:cubicBezTo>
                  <a:pt x="68892" y="191466"/>
                  <a:pt x="115893" y="196510"/>
                  <a:pt x="166088" y="196510"/>
                </a:cubicBezTo>
                <a:close/>
                <a:moveTo>
                  <a:pt x="53333" y="115465"/>
                </a:moveTo>
                <a:cubicBezTo>
                  <a:pt x="63151" y="115465"/>
                  <a:pt x="71119" y="123432"/>
                  <a:pt x="71119" y="133251"/>
                </a:cubicBezTo>
                <a:cubicBezTo>
                  <a:pt x="71119" y="143070"/>
                  <a:pt x="63151" y="151037"/>
                  <a:pt x="53333" y="151037"/>
                </a:cubicBezTo>
                <a:cubicBezTo>
                  <a:pt x="43514" y="151037"/>
                  <a:pt x="35546" y="143070"/>
                  <a:pt x="35546" y="133251"/>
                </a:cubicBezTo>
                <a:cubicBezTo>
                  <a:pt x="35546" y="123432"/>
                  <a:pt x="43514" y="115465"/>
                  <a:pt x="53333" y="115465"/>
                </a:cubicBezTo>
                <a:close/>
                <a:moveTo>
                  <a:pt x="33749" y="55935"/>
                </a:moveTo>
                <a:cubicBezTo>
                  <a:pt x="17545" y="51723"/>
                  <a:pt x="6868" y="47377"/>
                  <a:pt x="0" y="43675"/>
                </a:cubicBezTo>
                <a:lnTo>
                  <a:pt x="0" y="28544"/>
                </a:lnTo>
                <a:cubicBezTo>
                  <a:pt x="724" y="26371"/>
                  <a:pt x="19289" y="17384"/>
                  <a:pt x="32810" y="13870"/>
                </a:cubicBezTo>
                <a:cubicBezTo>
                  <a:pt x="67953" y="4722"/>
                  <a:pt x="115893" y="0"/>
                  <a:pt x="166088" y="0"/>
                </a:cubicBezTo>
                <a:cubicBezTo>
                  <a:pt x="216281" y="0"/>
                  <a:pt x="263283" y="5044"/>
                  <a:pt x="298399" y="14192"/>
                </a:cubicBezTo>
                <a:cubicBezTo>
                  <a:pt x="316669" y="18967"/>
                  <a:pt x="327936" y="24574"/>
                  <a:pt x="334616" y="28544"/>
                </a:cubicBezTo>
                <a:lnTo>
                  <a:pt x="334616" y="43755"/>
                </a:lnTo>
                <a:cubicBezTo>
                  <a:pt x="327936" y="47699"/>
                  <a:pt x="316669" y="51160"/>
                  <a:pt x="298399" y="55908"/>
                </a:cubicBezTo>
                <a:cubicBezTo>
                  <a:pt x="263256" y="65056"/>
                  <a:pt x="216281" y="70100"/>
                  <a:pt x="166088" y="70100"/>
                </a:cubicBezTo>
                <a:cubicBezTo>
                  <a:pt x="115893" y="70100"/>
                  <a:pt x="68892" y="65083"/>
                  <a:pt x="33749" y="55935"/>
                </a:cubicBezTo>
                <a:close/>
                <a:moveTo>
                  <a:pt x="441067" y="403053"/>
                </a:moveTo>
                <a:cubicBezTo>
                  <a:pt x="441067" y="466070"/>
                  <a:pt x="389988" y="517122"/>
                  <a:pt x="326997" y="517122"/>
                </a:cubicBezTo>
                <a:cubicBezTo>
                  <a:pt x="281203" y="517122"/>
                  <a:pt x="241713" y="490107"/>
                  <a:pt x="223551" y="451154"/>
                </a:cubicBezTo>
                <a:lnTo>
                  <a:pt x="256871" y="428914"/>
                </a:lnTo>
                <a:lnTo>
                  <a:pt x="302719" y="465560"/>
                </a:lnTo>
                <a:lnTo>
                  <a:pt x="381510" y="399833"/>
                </a:lnTo>
                <a:lnTo>
                  <a:pt x="383147" y="423334"/>
                </a:lnTo>
                <a:lnTo>
                  <a:pt x="396936" y="423334"/>
                </a:lnTo>
                <a:lnTo>
                  <a:pt x="396936" y="365736"/>
                </a:lnTo>
                <a:lnTo>
                  <a:pt x="339338" y="365736"/>
                </a:lnTo>
                <a:lnTo>
                  <a:pt x="339338" y="379525"/>
                </a:lnTo>
                <a:lnTo>
                  <a:pt x="362248" y="381135"/>
                </a:lnTo>
                <a:lnTo>
                  <a:pt x="302128" y="430872"/>
                </a:lnTo>
                <a:lnTo>
                  <a:pt x="257944" y="395943"/>
                </a:lnTo>
                <a:lnTo>
                  <a:pt x="214940" y="424541"/>
                </a:lnTo>
                <a:cubicBezTo>
                  <a:pt x="213625" y="417593"/>
                  <a:pt x="212901" y="410430"/>
                  <a:pt x="212901" y="403106"/>
                </a:cubicBezTo>
                <a:cubicBezTo>
                  <a:pt x="212901" y="340116"/>
                  <a:pt x="263980" y="289037"/>
                  <a:pt x="326971" y="289037"/>
                </a:cubicBezTo>
                <a:cubicBezTo>
                  <a:pt x="389988" y="289010"/>
                  <a:pt x="441067" y="340062"/>
                  <a:pt x="441067" y="403053"/>
                </a:cubicBezTo>
                <a:close/>
                <a:moveTo>
                  <a:pt x="325173" y="250701"/>
                </a:moveTo>
                <a:cubicBezTo>
                  <a:pt x="328339" y="250701"/>
                  <a:pt x="331477" y="250862"/>
                  <a:pt x="334616" y="251049"/>
                </a:cubicBezTo>
                <a:lnTo>
                  <a:pt x="334616" y="193612"/>
                </a:lnTo>
                <a:cubicBezTo>
                  <a:pt x="326192" y="197288"/>
                  <a:pt x="316159" y="200668"/>
                  <a:pt x="304489" y="203699"/>
                </a:cubicBezTo>
                <a:cubicBezTo>
                  <a:pt x="267441" y="213357"/>
                  <a:pt x="218266" y="218669"/>
                  <a:pt x="166088" y="218669"/>
                </a:cubicBezTo>
                <a:cubicBezTo>
                  <a:pt x="113908" y="218669"/>
                  <a:pt x="64734" y="213357"/>
                  <a:pt x="27686" y="203699"/>
                </a:cubicBezTo>
                <a:cubicBezTo>
                  <a:pt x="17116" y="200936"/>
                  <a:pt x="7914" y="197905"/>
                  <a:pt x="0" y="194632"/>
                </a:cubicBezTo>
                <a:lnTo>
                  <a:pt x="0" y="296173"/>
                </a:lnTo>
                <a:cubicBezTo>
                  <a:pt x="0" y="296173"/>
                  <a:pt x="3729" y="298480"/>
                  <a:pt x="7994" y="300251"/>
                </a:cubicBezTo>
                <a:cubicBezTo>
                  <a:pt x="14433" y="302933"/>
                  <a:pt x="22830" y="305857"/>
                  <a:pt x="33749" y="308701"/>
                </a:cubicBezTo>
                <a:cubicBezTo>
                  <a:pt x="68892" y="317849"/>
                  <a:pt x="115867" y="322893"/>
                  <a:pt x="166061" y="322893"/>
                </a:cubicBezTo>
                <a:cubicBezTo>
                  <a:pt x="176684" y="322893"/>
                  <a:pt x="187147" y="322651"/>
                  <a:pt x="197395" y="322222"/>
                </a:cubicBezTo>
                <a:cubicBezTo>
                  <a:pt x="223820" y="279352"/>
                  <a:pt x="271223" y="250701"/>
                  <a:pt x="325173" y="250701"/>
                </a:cubicBezTo>
                <a:close/>
                <a:moveTo>
                  <a:pt x="53333" y="277152"/>
                </a:moveTo>
                <a:cubicBezTo>
                  <a:pt x="43514" y="277152"/>
                  <a:pt x="35546" y="269185"/>
                  <a:pt x="35546" y="259366"/>
                </a:cubicBezTo>
                <a:cubicBezTo>
                  <a:pt x="35546" y="249547"/>
                  <a:pt x="43514" y="241579"/>
                  <a:pt x="53333" y="241579"/>
                </a:cubicBezTo>
                <a:cubicBezTo>
                  <a:pt x="63151" y="241579"/>
                  <a:pt x="71119" y="249547"/>
                  <a:pt x="71119" y="259366"/>
                </a:cubicBezTo>
                <a:cubicBezTo>
                  <a:pt x="71119" y="269185"/>
                  <a:pt x="63178" y="277152"/>
                  <a:pt x="53333" y="277152"/>
                </a:cubicBezTo>
                <a:close/>
                <a:moveTo>
                  <a:pt x="174913" y="403079"/>
                </a:moveTo>
                <a:cubicBezTo>
                  <a:pt x="174913" y="395809"/>
                  <a:pt x="175450" y="388673"/>
                  <a:pt x="176443" y="381671"/>
                </a:cubicBezTo>
                <a:cubicBezTo>
                  <a:pt x="178079" y="368821"/>
                  <a:pt x="181325" y="356454"/>
                  <a:pt x="186020" y="344811"/>
                </a:cubicBezTo>
                <a:cubicBezTo>
                  <a:pt x="179448" y="344972"/>
                  <a:pt x="172794" y="345079"/>
                  <a:pt x="166088" y="345079"/>
                </a:cubicBezTo>
                <a:cubicBezTo>
                  <a:pt x="113881" y="345079"/>
                  <a:pt x="64734" y="339767"/>
                  <a:pt x="27686" y="330109"/>
                </a:cubicBezTo>
                <a:cubicBezTo>
                  <a:pt x="17116" y="327346"/>
                  <a:pt x="7914" y="324315"/>
                  <a:pt x="0" y="321042"/>
                </a:cubicBezTo>
                <a:lnTo>
                  <a:pt x="0" y="416654"/>
                </a:lnTo>
                <a:cubicBezTo>
                  <a:pt x="7056" y="442998"/>
                  <a:pt x="79677" y="463736"/>
                  <a:pt x="168341" y="463736"/>
                </a:cubicBezTo>
                <a:cubicBezTo>
                  <a:pt x="174780" y="463736"/>
                  <a:pt x="181110" y="463602"/>
                  <a:pt x="187361" y="463387"/>
                </a:cubicBezTo>
                <a:cubicBezTo>
                  <a:pt x="179367" y="444876"/>
                  <a:pt x="174913" y="424514"/>
                  <a:pt x="174913" y="403079"/>
                </a:cubicBezTo>
                <a:close/>
                <a:moveTo>
                  <a:pt x="53252" y="410055"/>
                </a:moveTo>
                <a:cubicBezTo>
                  <a:pt x="43433" y="410055"/>
                  <a:pt x="35466" y="402087"/>
                  <a:pt x="35466" y="392268"/>
                </a:cubicBezTo>
                <a:cubicBezTo>
                  <a:pt x="35466" y="382449"/>
                  <a:pt x="43433" y="374482"/>
                  <a:pt x="53252" y="374482"/>
                </a:cubicBezTo>
                <a:cubicBezTo>
                  <a:pt x="63071" y="374482"/>
                  <a:pt x="71039" y="382449"/>
                  <a:pt x="71039" y="392268"/>
                </a:cubicBezTo>
                <a:cubicBezTo>
                  <a:pt x="71039" y="402087"/>
                  <a:pt x="63071" y="410055"/>
                  <a:pt x="53252" y="410055"/>
                </a:cubicBezTo>
                <a:close/>
              </a:path>
            </a:pathLst>
          </a:custGeom>
          <a:noFill/>
          <a:ln w="12700" cap="flat">
            <a:solidFill>
              <a:schemeClr val="accent2"/>
            </a:solidFill>
            <a:prstDash val="solid"/>
            <a:miter/>
          </a:ln>
        </p:spPr>
        <p:txBody>
          <a:bodyPr rtlCol="0" anchor="ctr"/>
          <a:lstStyle/>
          <a:p>
            <a:pPr fontAlgn="auto">
              <a:spcBef>
                <a:spcPts val="0"/>
              </a:spcBef>
              <a:spcAft>
                <a:spcPts val="0"/>
              </a:spcAft>
            </a:pPr>
            <a:endParaRPr lang="en-US">
              <a:solidFill>
                <a:prstClr val="white"/>
              </a:solidFill>
              <a:latin typeface="Arial"/>
              <a:ea typeface="+mn-ea"/>
            </a:endParaRPr>
          </a:p>
        </p:txBody>
      </p:sp>
    </p:spTree>
    <p:extLst>
      <p:ext uri="{BB962C8B-B14F-4D97-AF65-F5344CB8AC3E}">
        <p14:creationId xmlns:p14="http://schemas.microsoft.com/office/powerpoint/2010/main" val="379532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50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p:cTn id="13" dur="500" fill="hold"/>
                                        <p:tgtEl>
                                          <p:spTgt spid="6"/>
                                        </p:tgtEl>
                                        <p:attrNameLst>
                                          <p:attrName>ppt_w</p:attrName>
                                        </p:attrNameLst>
                                      </p:cBhvr>
                                      <p:tavLst>
                                        <p:tav tm="0">
                                          <p:val>
                                            <p:fltVal val="0"/>
                                          </p:val>
                                        </p:tav>
                                        <p:tav tm="100000">
                                          <p:val>
                                            <p:strVal val="#ppt_w"/>
                                          </p:val>
                                        </p:tav>
                                      </p:tavLst>
                                    </p:anim>
                                    <p:anim calcmode="lin" valueType="num">
                                      <p:cBhvr>
                                        <p:cTn id="14" dur="500" fill="hold"/>
                                        <p:tgtEl>
                                          <p:spTgt spid="6"/>
                                        </p:tgtEl>
                                        <p:attrNameLst>
                                          <p:attrName>ppt_h</p:attrName>
                                        </p:attrNameLst>
                                      </p:cBhvr>
                                      <p:tavLst>
                                        <p:tav tm="0">
                                          <p:val>
                                            <p:fltVal val="0"/>
                                          </p:val>
                                        </p:tav>
                                        <p:tav tm="100000">
                                          <p:val>
                                            <p:strVal val="#ppt_h"/>
                                          </p:val>
                                        </p:tav>
                                      </p:tavLst>
                                    </p:anim>
                                    <p:animEffect transition="in" filter="fade">
                                      <p:cBhvr>
                                        <p:cTn id="15" dur="500"/>
                                        <p:tgtEl>
                                          <p:spTgt spid="6"/>
                                        </p:tgtEl>
                                      </p:cBhvr>
                                    </p:animEffect>
                                  </p:childTnLst>
                                </p:cTn>
                              </p:par>
                              <p:par>
                                <p:cTn id="16" presetID="53" presetClass="entr" presetSubtype="16" fill="hold" grpId="0" nodeType="withEffect">
                                  <p:stCondLst>
                                    <p:cond delay="200"/>
                                  </p:stCondLst>
                                  <p:childTnLst>
                                    <p:set>
                                      <p:cBhvr>
                                        <p:cTn id="17" dur="1" fill="hold">
                                          <p:stCondLst>
                                            <p:cond delay="0"/>
                                          </p:stCondLst>
                                        </p:cTn>
                                        <p:tgtEl>
                                          <p:spTgt spid="16"/>
                                        </p:tgtEl>
                                        <p:attrNameLst>
                                          <p:attrName>style.visibility</p:attrName>
                                        </p:attrNameLst>
                                      </p:cBhvr>
                                      <p:to>
                                        <p:strVal val="visible"/>
                                      </p:to>
                                    </p:set>
                                    <p:anim calcmode="lin" valueType="num">
                                      <p:cBhvr>
                                        <p:cTn id="18" dur="600" fill="hold"/>
                                        <p:tgtEl>
                                          <p:spTgt spid="16"/>
                                        </p:tgtEl>
                                        <p:attrNameLst>
                                          <p:attrName>ppt_w</p:attrName>
                                        </p:attrNameLst>
                                      </p:cBhvr>
                                      <p:tavLst>
                                        <p:tav tm="0">
                                          <p:val>
                                            <p:fltVal val="0"/>
                                          </p:val>
                                        </p:tav>
                                        <p:tav tm="100000">
                                          <p:val>
                                            <p:strVal val="#ppt_w"/>
                                          </p:val>
                                        </p:tav>
                                      </p:tavLst>
                                    </p:anim>
                                    <p:anim calcmode="lin" valueType="num">
                                      <p:cBhvr>
                                        <p:cTn id="19" dur="600" fill="hold"/>
                                        <p:tgtEl>
                                          <p:spTgt spid="16"/>
                                        </p:tgtEl>
                                        <p:attrNameLst>
                                          <p:attrName>ppt_h</p:attrName>
                                        </p:attrNameLst>
                                      </p:cBhvr>
                                      <p:tavLst>
                                        <p:tav tm="0">
                                          <p:val>
                                            <p:fltVal val="0"/>
                                          </p:val>
                                        </p:tav>
                                        <p:tav tm="100000">
                                          <p:val>
                                            <p:strVal val="#ppt_h"/>
                                          </p:val>
                                        </p:tav>
                                      </p:tavLst>
                                    </p:anim>
                                    <p:animEffect transition="in" filter="fade">
                                      <p:cBhvr>
                                        <p:cTn id="20" dur="600"/>
                                        <p:tgtEl>
                                          <p:spTgt spid="16"/>
                                        </p:tgtEl>
                                      </p:cBhvr>
                                    </p:animEffect>
                                  </p:childTnLst>
                                </p:cTn>
                              </p:par>
                            </p:childTnLst>
                          </p:cTn>
                        </p:par>
                        <p:par>
                          <p:cTn id="21" fill="hold">
                            <p:stCondLst>
                              <p:cond delay="1800"/>
                            </p:stCondLst>
                            <p:childTnLst>
                              <p:par>
                                <p:cTn id="22" presetID="53" presetClass="entr" presetSubtype="16" fill="hold" grpId="0" nodeType="afterEffect">
                                  <p:stCondLst>
                                    <p:cond delay="0"/>
                                  </p:stCondLst>
                                  <p:childTnLst>
                                    <p:set>
                                      <p:cBhvr>
                                        <p:cTn id="23" dur="1" fill="hold">
                                          <p:stCondLst>
                                            <p:cond delay="0"/>
                                          </p:stCondLst>
                                        </p:cTn>
                                        <p:tgtEl>
                                          <p:spTgt spid="11"/>
                                        </p:tgtEl>
                                        <p:attrNameLst>
                                          <p:attrName>style.visibility</p:attrName>
                                        </p:attrNameLst>
                                      </p:cBhvr>
                                      <p:to>
                                        <p:strVal val="visible"/>
                                      </p:to>
                                    </p:set>
                                    <p:anim calcmode="lin" valueType="num">
                                      <p:cBhvr>
                                        <p:cTn id="24" dur="500" fill="hold"/>
                                        <p:tgtEl>
                                          <p:spTgt spid="11"/>
                                        </p:tgtEl>
                                        <p:attrNameLst>
                                          <p:attrName>ppt_w</p:attrName>
                                        </p:attrNameLst>
                                      </p:cBhvr>
                                      <p:tavLst>
                                        <p:tav tm="0">
                                          <p:val>
                                            <p:fltVal val="0"/>
                                          </p:val>
                                        </p:tav>
                                        <p:tav tm="100000">
                                          <p:val>
                                            <p:strVal val="#ppt_w"/>
                                          </p:val>
                                        </p:tav>
                                      </p:tavLst>
                                    </p:anim>
                                    <p:anim calcmode="lin" valueType="num">
                                      <p:cBhvr>
                                        <p:cTn id="25" dur="500" fill="hold"/>
                                        <p:tgtEl>
                                          <p:spTgt spid="11"/>
                                        </p:tgtEl>
                                        <p:attrNameLst>
                                          <p:attrName>ppt_h</p:attrName>
                                        </p:attrNameLst>
                                      </p:cBhvr>
                                      <p:tavLst>
                                        <p:tav tm="0">
                                          <p:val>
                                            <p:fltVal val="0"/>
                                          </p:val>
                                        </p:tav>
                                        <p:tav tm="100000">
                                          <p:val>
                                            <p:strVal val="#ppt_h"/>
                                          </p:val>
                                        </p:tav>
                                      </p:tavLst>
                                    </p:anim>
                                    <p:animEffect transition="in" filter="fade">
                                      <p:cBhvr>
                                        <p:cTn id="26" dur="500"/>
                                        <p:tgtEl>
                                          <p:spTgt spid="1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 calcmode="lin" valueType="num">
                                      <p:cBhvr>
                                        <p:cTn id="29" dur="500" fill="hold"/>
                                        <p:tgtEl>
                                          <p:spTgt spid="32"/>
                                        </p:tgtEl>
                                        <p:attrNameLst>
                                          <p:attrName>ppt_w</p:attrName>
                                        </p:attrNameLst>
                                      </p:cBhvr>
                                      <p:tavLst>
                                        <p:tav tm="0">
                                          <p:val>
                                            <p:fltVal val="0"/>
                                          </p:val>
                                        </p:tav>
                                        <p:tav tm="100000">
                                          <p:val>
                                            <p:strVal val="#ppt_w"/>
                                          </p:val>
                                        </p:tav>
                                      </p:tavLst>
                                    </p:anim>
                                    <p:anim calcmode="lin" valueType="num">
                                      <p:cBhvr>
                                        <p:cTn id="30" dur="500" fill="hold"/>
                                        <p:tgtEl>
                                          <p:spTgt spid="32"/>
                                        </p:tgtEl>
                                        <p:attrNameLst>
                                          <p:attrName>ppt_h</p:attrName>
                                        </p:attrNameLst>
                                      </p:cBhvr>
                                      <p:tavLst>
                                        <p:tav tm="0">
                                          <p:val>
                                            <p:fltVal val="0"/>
                                          </p:val>
                                        </p:tav>
                                        <p:tav tm="100000">
                                          <p:val>
                                            <p:strVal val="#ppt_h"/>
                                          </p:val>
                                        </p:tav>
                                      </p:tavLst>
                                    </p:anim>
                                    <p:animEffect transition="in" filter="fade">
                                      <p:cBhvr>
                                        <p:cTn id="31" dur="500"/>
                                        <p:tgtEl>
                                          <p:spTgt spid="32"/>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13"/>
                                        </p:tgtEl>
                                        <p:attrNameLst>
                                          <p:attrName>style.visibility</p:attrName>
                                        </p:attrNameLst>
                                      </p:cBhvr>
                                      <p:to>
                                        <p:strVal val="visible"/>
                                      </p:to>
                                    </p:set>
                                    <p:anim calcmode="lin" valueType="num">
                                      <p:cBhvr>
                                        <p:cTn id="34" dur="600" fill="hold"/>
                                        <p:tgtEl>
                                          <p:spTgt spid="13"/>
                                        </p:tgtEl>
                                        <p:attrNameLst>
                                          <p:attrName>ppt_w</p:attrName>
                                        </p:attrNameLst>
                                      </p:cBhvr>
                                      <p:tavLst>
                                        <p:tav tm="0">
                                          <p:val>
                                            <p:fltVal val="0"/>
                                          </p:val>
                                        </p:tav>
                                        <p:tav tm="100000">
                                          <p:val>
                                            <p:strVal val="#ppt_w"/>
                                          </p:val>
                                        </p:tav>
                                      </p:tavLst>
                                    </p:anim>
                                    <p:anim calcmode="lin" valueType="num">
                                      <p:cBhvr>
                                        <p:cTn id="35" dur="600" fill="hold"/>
                                        <p:tgtEl>
                                          <p:spTgt spid="13"/>
                                        </p:tgtEl>
                                        <p:attrNameLst>
                                          <p:attrName>ppt_h</p:attrName>
                                        </p:attrNameLst>
                                      </p:cBhvr>
                                      <p:tavLst>
                                        <p:tav tm="0">
                                          <p:val>
                                            <p:fltVal val="0"/>
                                          </p:val>
                                        </p:tav>
                                        <p:tav tm="100000">
                                          <p:val>
                                            <p:strVal val="#ppt_h"/>
                                          </p:val>
                                        </p:tav>
                                      </p:tavLst>
                                    </p:anim>
                                    <p:animEffect transition="in" filter="fade">
                                      <p:cBhvr>
                                        <p:cTn id="36" dur="600"/>
                                        <p:tgtEl>
                                          <p:spTgt spid="13"/>
                                        </p:tgtEl>
                                      </p:cBhvr>
                                    </p:animEffect>
                                  </p:childTnLst>
                                </p:cTn>
                              </p:par>
                            </p:childTnLst>
                          </p:cTn>
                        </p:par>
                        <p:par>
                          <p:cTn id="37" fill="hold">
                            <p:stCondLst>
                              <p:cond delay="2400"/>
                            </p:stCondLst>
                            <p:childTnLst>
                              <p:par>
                                <p:cTn id="38" presetID="53" presetClass="entr" presetSubtype="16"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 calcmode="lin" valueType="num">
                                      <p:cBhvr>
                                        <p:cTn id="40" dur="500" fill="hold"/>
                                        <p:tgtEl>
                                          <p:spTgt spid="35"/>
                                        </p:tgtEl>
                                        <p:attrNameLst>
                                          <p:attrName>ppt_w</p:attrName>
                                        </p:attrNameLst>
                                      </p:cBhvr>
                                      <p:tavLst>
                                        <p:tav tm="0">
                                          <p:val>
                                            <p:fltVal val="0"/>
                                          </p:val>
                                        </p:tav>
                                        <p:tav tm="100000">
                                          <p:val>
                                            <p:strVal val="#ppt_w"/>
                                          </p:val>
                                        </p:tav>
                                      </p:tavLst>
                                    </p:anim>
                                    <p:anim calcmode="lin" valueType="num">
                                      <p:cBhvr>
                                        <p:cTn id="41" dur="500" fill="hold"/>
                                        <p:tgtEl>
                                          <p:spTgt spid="35"/>
                                        </p:tgtEl>
                                        <p:attrNameLst>
                                          <p:attrName>ppt_h</p:attrName>
                                        </p:attrNameLst>
                                      </p:cBhvr>
                                      <p:tavLst>
                                        <p:tav tm="0">
                                          <p:val>
                                            <p:fltVal val="0"/>
                                          </p:val>
                                        </p:tav>
                                        <p:tav tm="100000">
                                          <p:val>
                                            <p:strVal val="#ppt_h"/>
                                          </p:val>
                                        </p:tav>
                                      </p:tavLst>
                                    </p:anim>
                                    <p:animEffect transition="in" filter="fade">
                                      <p:cBhvr>
                                        <p:cTn id="42" dur="500"/>
                                        <p:tgtEl>
                                          <p:spTgt spid="35"/>
                                        </p:tgtEl>
                                      </p:cBhvr>
                                    </p:animEffect>
                                  </p:childTnLst>
                                </p:cTn>
                              </p:par>
                              <p:par>
                                <p:cTn id="43" presetID="53" presetClass="entr" presetSubtype="16" fill="hold" grpId="0" nodeType="withEffect">
                                  <p:stCondLst>
                                    <p:cond delay="300"/>
                                  </p:stCondLst>
                                  <p:childTnLst>
                                    <p:set>
                                      <p:cBhvr>
                                        <p:cTn id="44" dur="1" fill="hold">
                                          <p:stCondLst>
                                            <p:cond delay="0"/>
                                          </p:stCondLst>
                                        </p:cTn>
                                        <p:tgtEl>
                                          <p:spTgt spid="8"/>
                                        </p:tgtEl>
                                        <p:attrNameLst>
                                          <p:attrName>style.visibility</p:attrName>
                                        </p:attrNameLst>
                                      </p:cBhvr>
                                      <p:to>
                                        <p:strVal val="visible"/>
                                      </p:to>
                                    </p:set>
                                    <p:anim calcmode="lin" valueType="num">
                                      <p:cBhvr>
                                        <p:cTn id="45" dur="500" fill="hold"/>
                                        <p:tgtEl>
                                          <p:spTgt spid="8"/>
                                        </p:tgtEl>
                                        <p:attrNameLst>
                                          <p:attrName>ppt_w</p:attrName>
                                        </p:attrNameLst>
                                      </p:cBhvr>
                                      <p:tavLst>
                                        <p:tav tm="0">
                                          <p:val>
                                            <p:fltVal val="0"/>
                                          </p:val>
                                        </p:tav>
                                        <p:tav tm="100000">
                                          <p:val>
                                            <p:strVal val="#ppt_w"/>
                                          </p:val>
                                        </p:tav>
                                      </p:tavLst>
                                    </p:anim>
                                    <p:anim calcmode="lin" valueType="num">
                                      <p:cBhvr>
                                        <p:cTn id="46" dur="500" fill="hold"/>
                                        <p:tgtEl>
                                          <p:spTgt spid="8"/>
                                        </p:tgtEl>
                                        <p:attrNameLst>
                                          <p:attrName>ppt_h</p:attrName>
                                        </p:attrNameLst>
                                      </p:cBhvr>
                                      <p:tavLst>
                                        <p:tav tm="0">
                                          <p:val>
                                            <p:fltVal val="0"/>
                                          </p:val>
                                        </p:tav>
                                        <p:tav tm="100000">
                                          <p:val>
                                            <p:strVal val="#ppt_h"/>
                                          </p:val>
                                        </p:tav>
                                      </p:tavLst>
                                    </p:anim>
                                    <p:animEffect transition="in" filter="fade">
                                      <p:cBhvr>
                                        <p:cTn id="47" dur="500"/>
                                        <p:tgtEl>
                                          <p:spTgt spid="8"/>
                                        </p:tgtEl>
                                      </p:cBhvr>
                                    </p:animEffect>
                                  </p:childTnLst>
                                </p:cTn>
                              </p:par>
                              <p:par>
                                <p:cTn id="48" presetID="53" presetClass="entr" presetSubtype="16" fill="hold" grpId="0" nodeType="withEffect">
                                  <p:stCondLst>
                                    <p:cond delay="0"/>
                                  </p:stCondLst>
                                  <p:childTnLst>
                                    <p:set>
                                      <p:cBhvr>
                                        <p:cTn id="49" dur="1" fill="hold">
                                          <p:stCondLst>
                                            <p:cond delay="0"/>
                                          </p:stCondLst>
                                        </p:cTn>
                                        <p:tgtEl>
                                          <p:spTgt spid="33"/>
                                        </p:tgtEl>
                                        <p:attrNameLst>
                                          <p:attrName>style.visibility</p:attrName>
                                        </p:attrNameLst>
                                      </p:cBhvr>
                                      <p:to>
                                        <p:strVal val="visible"/>
                                      </p:to>
                                    </p:set>
                                    <p:anim calcmode="lin" valueType="num">
                                      <p:cBhvr>
                                        <p:cTn id="50" dur="500" fill="hold"/>
                                        <p:tgtEl>
                                          <p:spTgt spid="33"/>
                                        </p:tgtEl>
                                        <p:attrNameLst>
                                          <p:attrName>ppt_w</p:attrName>
                                        </p:attrNameLst>
                                      </p:cBhvr>
                                      <p:tavLst>
                                        <p:tav tm="0">
                                          <p:val>
                                            <p:fltVal val="0"/>
                                          </p:val>
                                        </p:tav>
                                        <p:tav tm="100000">
                                          <p:val>
                                            <p:strVal val="#ppt_w"/>
                                          </p:val>
                                        </p:tav>
                                      </p:tavLst>
                                    </p:anim>
                                    <p:anim calcmode="lin" valueType="num">
                                      <p:cBhvr>
                                        <p:cTn id="51" dur="500" fill="hold"/>
                                        <p:tgtEl>
                                          <p:spTgt spid="33"/>
                                        </p:tgtEl>
                                        <p:attrNameLst>
                                          <p:attrName>ppt_h</p:attrName>
                                        </p:attrNameLst>
                                      </p:cBhvr>
                                      <p:tavLst>
                                        <p:tav tm="0">
                                          <p:val>
                                            <p:fltVal val="0"/>
                                          </p:val>
                                        </p:tav>
                                        <p:tav tm="100000">
                                          <p:val>
                                            <p:strVal val="#ppt_h"/>
                                          </p:val>
                                        </p:tav>
                                      </p:tavLst>
                                    </p:anim>
                                    <p:animEffect transition="in" filter="fade">
                                      <p:cBhvr>
                                        <p:cTn id="52" dur="500"/>
                                        <p:tgtEl>
                                          <p:spTgt spid="33"/>
                                        </p:tgtEl>
                                      </p:cBhvr>
                                    </p:animEffect>
                                  </p:childTnLst>
                                </p:cTn>
                              </p:par>
                            </p:childTnLst>
                          </p:cTn>
                        </p:par>
                        <p:par>
                          <p:cTn id="53" fill="hold">
                            <p:stCondLst>
                              <p:cond delay="3200"/>
                            </p:stCondLst>
                            <p:childTnLst>
                              <p:par>
                                <p:cTn id="54" presetID="53" presetClass="entr" presetSubtype="16" fill="hold" grpId="0" nodeType="afterEffect">
                                  <p:stCondLst>
                                    <p:cond delay="0"/>
                                  </p:stCondLst>
                                  <p:childTnLst>
                                    <p:set>
                                      <p:cBhvr>
                                        <p:cTn id="55" dur="1" fill="hold">
                                          <p:stCondLst>
                                            <p:cond delay="0"/>
                                          </p:stCondLst>
                                        </p:cTn>
                                        <p:tgtEl>
                                          <p:spTgt spid="31"/>
                                        </p:tgtEl>
                                        <p:attrNameLst>
                                          <p:attrName>style.visibility</p:attrName>
                                        </p:attrNameLst>
                                      </p:cBhvr>
                                      <p:to>
                                        <p:strVal val="visible"/>
                                      </p:to>
                                    </p:set>
                                    <p:anim calcmode="lin" valueType="num">
                                      <p:cBhvr>
                                        <p:cTn id="56" dur="500" fill="hold"/>
                                        <p:tgtEl>
                                          <p:spTgt spid="31"/>
                                        </p:tgtEl>
                                        <p:attrNameLst>
                                          <p:attrName>ppt_w</p:attrName>
                                        </p:attrNameLst>
                                      </p:cBhvr>
                                      <p:tavLst>
                                        <p:tav tm="0">
                                          <p:val>
                                            <p:fltVal val="0"/>
                                          </p:val>
                                        </p:tav>
                                        <p:tav tm="100000">
                                          <p:val>
                                            <p:strVal val="#ppt_w"/>
                                          </p:val>
                                        </p:tav>
                                      </p:tavLst>
                                    </p:anim>
                                    <p:anim calcmode="lin" valueType="num">
                                      <p:cBhvr>
                                        <p:cTn id="57" dur="500" fill="hold"/>
                                        <p:tgtEl>
                                          <p:spTgt spid="31"/>
                                        </p:tgtEl>
                                        <p:attrNameLst>
                                          <p:attrName>ppt_h</p:attrName>
                                        </p:attrNameLst>
                                      </p:cBhvr>
                                      <p:tavLst>
                                        <p:tav tm="0">
                                          <p:val>
                                            <p:fltVal val="0"/>
                                          </p:val>
                                        </p:tav>
                                        <p:tav tm="100000">
                                          <p:val>
                                            <p:strVal val="#ppt_h"/>
                                          </p:val>
                                        </p:tav>
                                      </p:tavLst>
                                    </p:anim>
                                    <p:animEffect transition="in" filter="fade">
                                      <p:cBhvr>
                                        <p:cTn id="58" dur="500"/>
                                        <p:tgtEl>
                                          <p:spTgt spid="31"/>
                                        </p:tgtEl>
                                      </p:cBhvr>
                                    </p:animEffect>
                                  </p:childTnLst>
                                </p:cTn>
                              </p:par>
                              <p:par>
                                <p:cTn id="59" presetID="53" presetClass="entr" presetSubtype="16" fill="hold" grpId="0" nodeType="withEffect">
                                  <p:stCondLst>
                                    <p:cond delay="200"/>
                                  </p:stCondLst>
                                  <p:childTnLst>
                                    <p:set>
                                      <p:cBhvr>
                                        <p:cTn id="60" dur="1" fill="hold">
                                          <p:stCondLst>
                                            <p:cond delay="0"/>
                                          </p:stCondLst>
                                        </p:cTn>
                                        <p:tgtEl>
                                          <p:spTgt spid="28"/>
                                        </p:tgtEl>
                                        <p:attrNameLst>
                                          <p:attrName>style.visibility</p:attrName>
                                        </p:attrNameLst>
                                      </p:cBhvr>
                                      <p:to>
                                        <p:strVal val="visible"/>
                                      </p:to>
                                    </p:set>
                                    <p:anim calcmode="lin" valueType="num">
                                      <p:cBhvr>
                                        <p:cTn id="61" dur="500" fill="hold"/>
                                        <p:tgtEl>
                                          <p:spTgt spid="28"/>
                                        </p:tgtEl>
                                        <p:attrNameLst>
                                          <p:attrName>ppt_w</p:attrName>
                                        </p:attrNameLst>
                                      </p:cBhvr>
                                      <p:tavLst>
                                        <p:tav tm="0">
                                          <p:val>
                                            <p:fltVal val="0"/>
                                          </p:val>
                                        </p:tav>
                                        <p:tav tm="100000">
                                          <p:val>
                                            <p:strVal val="#ppt_w"/>
                                          </p:val>
                                        </p:tav>
                                      </p:tavLst>
                                    </p:anim>
                                    <p:anim calcmode="lin" valueType="num">
                                      <p:cBhvr>
                                        <p:cTn id="62" dur="500" fill="hold"/>
                                        <p:tgtEl>
                                          <p:spTgt spid="28"/>
                                        </p:tgtEl>
                                        <p:attrNameLst>
                                          <p:attrName>ppt_h</p:attrName>
                                        </p:attrNameLst>
                                      </p:cBhvr>
                                      <p:tavLst>
                                        <p:tav tm="0">
                                          <p:val>
                                            <p:fltVal val="0"/>
                                          </p:val>
                                        </p:tav>
                                        <p:tav tm="100000">
                                          <p:val>
                                            <p:strVal val="#ppt_h"/>
                                          </p:val>
                                        </p:tav>
                                      </p:tavLst>
                                    </p:anim>
                                    <p:animEffect transition="in" filter="fade">
                                      <p:cBhvr>
                                        <p:cTn id="63" dur="500"/>
                                        <p:tgtEl>
                                          <p:spTgt spid="28"/>
                                        </p:tgtEl>
                                      </p:cBhvr>
                                    </p:animEffect>
                                  </p:childTnLst>
                                </p:cTn>
                              </p:par>
                            </p:childTnLst>
                          </p:cTn>
                        </p:par>
                        <p:par>
                          <p:cTn id="64" fill="hold">
                            <p:stCondLst>
                              <p:cond delay="3900"/>
                            </p:stCondLst>
                            <p:childTnLst>
                              <p:par>
                                <p:cTn id="65" presetID="53" presetClass="entr" presetSubtype="16" fill="hold" grpId="0" nodeType="afterEffect">
                                  <p:stCondLst>
                                    <p:cond delay="0"/>
                                  </p:stCondLst>
                                  <p:childTnLst>
                                    <p:set>
                                      <p:cBhvr>
                                        <p:cTn id="66" dur="1" fill="hold">
                                          <p:stCondLst>
                                            <p:cond delay="0"/>
                                          </p:stCondLst>
                                        </p:cTn>
                                        <p:tgtEl>
                                          <p:spTgt spid="10"/>
                                        </p:tgtEl>
                                        <p:attrNameLst>
                                          <p:attrName>style.visibility</p:attrName>
                                        </p:attrNameLst>
                                      </p:cBhvr>
                                      <p:to>
                                        <p:strVal val="visible"/>
                                      </p:to>
                                    </p:set>
                                    <p:anim calcmode="lin" valueType="num">
                                      <p:cBhvr>
                                        <p:cTn id="67" dur="500" fill="hold"/>
                                        <p:tgtEl>
                                          <p:spTgt spid="10"/>
                                        </p:tgtEl>
                                        <p:attrNameLst>
                                          <p:attrName>ppt_w</p:attrName>
                                        </p:attrNameLst>
                                      </p:cBhvr>
                                      <p:tavLst>
                                        <p:tav tm="0">
                                          <p:val>
                                            <p:fltVal val="0"/>
                                          </p:val>
                                        </p:tav>
                                        <p:tav tm="100000">
                                          <p:val>
                                            <p:strVal val="#ppt_w"/>
                                          </p:val>
                                        </p:tav>
                                      </p:tavLst>
                                    </p:anim>
                                    <p:anim calcmode="lin" valueType="num">
                                      <p:cBhvr>
                                        <p:cTn id="68" dur="500" fill="hold"/>
                                        <p:tgtEl>
                                          <p:spTgt spid="10"/>
                                        </p:tgtEl>
                                        <p:attrNameLst>
                                          <p:attrName>ppt_h</p:attrName>
                                        </p:attrNameLst>
                                      </p:cBhvr>
                                      <p:tavLst>
                                        <p:tav tm="0">
                                          <p:val>
                                            <p:fltVal val="0"/>
                                          </p:val>
                                        </p:tav>
                                        <p:tav tm="100000">
                                          <p:val>
                                            <p:strVal val="#ppt_h"/>
                                          </p:val>
                                        </p:tav>
                                      </p:tavLst>
                                    </p:anim>
                                    <p:animEffect transition="in" filter="fade">
                                      <p:cBhvr>
                                        <p:cTn id="69" dur="500"/>
                                        <p:tgtEl>
                                          <p:spTgt spid="10"/>
                                        </p:tgtEl>
                                      </p:cBhvr>
                                    </p:animEffect>
                                  </p:childTnLst>
                                </p:cTn>
                              </p:par>
                              <p:par>
                                <p:cTn id="70" presetID="53" presetClass="entr" presetSubtype="16" fill="hold" grpId="0" nodeType="withEffect">
                                  <p:stCondLst>
                                    <p:cond delay="0"/>
                                  </p:stCondLst>
                                  <p:childTnLst>
                                    <p:set>
                                      <p:cBhvr>
                                        <p:cTn id="71" dur="1" fill="hold">
                                          <p:stCondLst>
                                            <p:cond delay="0"/>
                                          </p:stCondLst>
                                        </p:cTn>
                                        <p:tgtEl>
                                          <p:spTgt spid="5"/>
                                        </p:tgtEl>
                                        <p:attrNameLst>
                                          <p:attrName>style.visibility</p:attrName>
                                        </p:attrNameLst>
                                      </p:cBhvr>
                                      <p:to>
                                        <p:strVal val="visible"/>
                                      </p:to>
                                    </p:set>
                                    <p:anim calcmode="lin" valueType="num">
                                      <p:cBhvr>
                                        <p:cTn id="72" dur="500" fill="hold"/>
                                        <p:tgtEl>
                                          <p:spTgt spid="5"/>
                                        </p:tgtEl>
                                        <p:attrNameLst>
                                          <p:attrName>ppt_w</p:attrName>
                                        </p:attrNameLst>
                                      </p:cBhvr>
                                      <p:tavLst>
                                        <p:tav tm="0">
                                          <p:val>
                                            <p:fltVal val="0"/>
                                          </p:val>
                                        </p:tav>
                                        <p:tav tm="100000">
                                          <p:val>
                                            <p:strVal val="#ppt_w"/>
                                          </p:val>
                                        </p:tav>
                                      </p:tavLst>
                                    </p:anim>
                                    <p:anim calcmode="lin" valueType="num">
                                      <p:cBhvr>
                                        <p:cTn id="73" dur="500" fill="hold"/>
                                        <p:tgtEl>
                                          <p:spTgt spid="5"/>
                                        </p:tgtEl>
                                        <p:attrNameLst>
                                          <p:attrName>ppt_h</p:attrName>
                                        </p:attrNameLst>
                                      </p:cBhvr>
                                      <p:tavLst>
                                        <p:tav tm="0">
                                          <p:val>
                                            <p:fltVal val="0"/>
                                          </p:val>
                                        </p:tav>
                                        <p:tav tm="100000">
                                          <p:val>
                                            <p:strVal val="#ppt_h"/>
                                          </p:val>
                                        </p:tav>
                                      </p:tavLst>
                                    </p:anim>
                                    <p:animEffect transition="in" filter="fade">
                                      <p:cBhvr>
                                        <p:cTn id="74"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6" grpId="0" animBg="1"/>
      <p:bldP spid="8" grpId="0" animBg="1"/>
      <p:bldP spid="10" grpId="0" animBg="1"/>
      <p:bldP spid="11" grpId="0" animBg="1"/>
      <p:bldP spid="13" grpId="0" animBg="1"/>
      <p:bldP spid="16" grpId="0" animBg="1"/>
      <p:bldP spid="32" grpId="0" animBg="1"/>
      <p:bldP spid="33" grpId="0" animBg="1"/>
      <p:bldP spid="28" grpId="0" animBg="1"/>
      <p:bldP spid="35" grpId="0" animBg="1"/>
      <p:bldP spid="3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2" name="Gruppieren 161">
            <a:extLst>
              <a:ext uri="{FF2B5EF4-FFF2-40B4-BE49-F238E27FC236}">
                <a16:creationId xmlns:a16="http://schemas.microsoft.com/office/drawing/2014/main" id="{939DBFA4-39CB-4528-879C-2F1F71883621}"/>
              </a:ext>
            </a:extLst>
          </p:cNvPr>
          <p:cNvGrpSpPr/>
          <p:nvPr/>
        </p:nvGrpSpPr>
        <p:grpSpPr>
          <a:xfrm>
            <a:off x="-315366" y="-607864"/>
            <a:ext cx="7541719" cy="6790447"/>
            <a:chOff x="-371475" y="-623009"/>
            <a:chExt cx="7541719" cy="6790447"/>
          </a:xfrm>
        </p:grpSpPr>
        <p:pic>
          <p:nvPicPr>
            <p:cNvPr id="163" name="Grafik 162" descr="Ein Bild, das Spielzeug enthält.&#10;&#10;Automatisch generierte Beschreibung">
              <a:extLst>
                <a:ext uri="{FF2B5EF4-FFF2-40B4-BE49-F238E27FC236}">
                  <a16:creationId xmlns:a16="http://schemas.microsoft.com/office/drawing/2014/main" id="{248DCB87-9AAF-4236-BCD8-01271C506942}"/>
                </a:ext>
              </a:extLst>
            </p:cNvPr>
            <p:cNvPicPr>
              <a:picLocks noChangeAspect="1"/>
            </p:cNvPicPr>
            <p:nvPr/>
          </p:nvPicPr>
          <p:blipFill rotWithShape="1">
            <a:blip r:embed="rId5"/>
            <a:srcRect b="23707"/>
            <a:stretch/>
          </p:blipFill>
          <p:spPr>
            <a:xfrm>
              <a:off x="893905" y="1417823"/>
              <a:ext cx="6225540" cy="4749615"/>
            </a:xfrm>
            <a:prstGeom prst="rect">
              <a:avLst/>
            </a:prstGeom>
          </p:spPr>
        </p:pic>
        <p:cxnSp>
          <p:nvCxnSpPr>
            <p:cNvPr id="164" name="Gerader Verbinder 163">
              <a:extLst>
                <a:ext uri="{FF2B5EF4-FFF2-40B4-BE49-F238E27FC236}">
                  <a16:creationId xmlns:a16="http://schemas.microsoft.com/office/drawing/2014/main" id="{4D89C975-CC5D-4A31-A65D-20FD5DFFCB3E}"/>
                </a:ext>
              </a:extLst>
            </p:cNvPr>
            <p:cNvCxnSpPr>
              <a:cxnSpLocks/>
            </p:cNvCxnSpPr>
            <p:nvPr/>
          </p:nvCxnSpPr>
          <p:spPr>
            <a:xfrm flipH="1">
              <a:off x="-371475" y="2071104"/>
              <a:ext cx="1008313" cy="824496"/>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5" name="Gerader Verbinder 164">
              <a:extLst>
                <a:ext uri="{FF2B5EF4-FFF2-40B4-BE49-F238E27FC236}">
                  <a16:creationId xmlns:a16="http://schemas.microsoft.com/office/drawing/2014/main" id="{A689D496-75A2-4F46-B0B6-6BF39B1FB3C0}"/>
                </a:ext>
              </a:extLst>
            </p:cNvPr>
            <p:cNvCxnSpPr>
              <a:cxnSpLocks/>
            </p:cNvCxnSpPr>
            <p:nvPr/>
          </p:nvCxnSpPr>
          <p:spPr>
            <a:xfrm flipV="1">
              <a:off x="1059160" y="-55666"/>
              <a:ext cx="992505" cy="1686806"/>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6" name="Gerader Verbinder 165">
              <a:extLst>
                <a:ext uri="{FF2B5EF4-FFF2-40B4-BE49-F238E27FC236}">
                  <a16:creationId xmlns:a16="http://schemas.microsoft.com/office/drawing/2014/main" id="{61D6016F-1D5C-4C77-97E4-97F1CF4F1ADE}"/>
                </a:ext>
              </a:extLst>
            </p:cNvPr>
            <p:cNvCxnSpPr>
              <a:cxnSpLocks/>
              <a:endCxn id="169" idx="5"/>
            </p:cNvCxnSpPr>
            <p:nvPr/>
          </p:nvCxnSpPr>
          <p:spPr>
            <a:xfrm flipH="1" flipV="1">
              <a:off x="180327" y="1149288"/>
              <a:ext cx="440744" cy="50670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67" name="Gerader Verbinder 166">
              <a:extLst>
                <a:ext uri="{FF2B5EF4-FFF2-40B4-BE49-F238E27FC236}">
                  <a16:creationId xmlns:a16="http://schemas.microsoft.com/office/drawing/2014/main" id="{D26C12A5-9859-4C3C-92E2-F4050EDBE752}"/>
                </a:ext>
              </a:extLst>
            </p:cNvPr>
            <p:cNvCxnSpPr>
              <a:cxnSpLocks/>
              <a:endCxn id="168" idx="6"/>
            </p:cNvCxnSpPr>
            <p:nvPr/>
          </p:nvCxnSpPr>
          <p:spPr>
            <a:xfrm flipH="1">
              <a:off x="1666875" y="715689"/>
              <a:ext cx="1331767" cy="616273"/>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68" name="Ellipse 167">
              <a:extLst>
                <a:ext uri="{FF2B5EF4-FFF2-40B4-BE49-F238E27FC236}">
                  <a16:creationId xmlns:a16="http://schemas.microsoft.com/office/drawing/2014/main" id="{6CBBF30C-210B-4400-95FB-B684F6D41B42}"/>
                </a:ext>
              </a:extLst>
            </p:cNvPr>
            <p:cNvSpPr/>
            <p:nvPr/>
          </p:nvSpPr>
          <p:spPr>
            <a:xfrm>
              <a:off x="1601562" y="1299305"/>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69" name="Ellipse 168">
              <a:extLst>
                <a:ext uri="{FF2B5EF4-FFF2-40B4-BE49-F238E27FC236}">
                  <a16:creationId xmlns:a16="http://schemas.microsoft.com/office/drawing/2014/main" id="{BC410978-BA87-422E-BF68-D83813DE6497}"/>
                </a:ext>
              </a:extLst>
            </p:cNvPr>
            <p:cNvSpPr/>
            <p:nvPr/>
          </p:nvSpPr>
          <p:spPr>
            <a:xfrm>
              <a:off x="124579" y="1093540"/>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70" name="Gerader Verbinder 169">
              <a:extLst>
                <a:ext uri="{FF2B5EF4-FFF2-40B4-BE49-F238E27FC236}">
                  <a16:creationId xmlns:a16="http://schemas.microsoft.com/office/drawing/2014/main" id="{20591133-B403-41ED-BF27-459D277EADE5}"/>
                </a:ext>
              </a:extLst>
            </p:cNvPr>
            <p:cNvCxnSpPr>
              <a:cxnSpLocks/>
            </p:cNvCxnSpPr>
            <p:nvPr/>
          </p:nvCxnSpPr>
          <p:spPr>
            <a:xfrm flipV="1">
              <a:off x="157163" y="862013"/>
              <a:ext cx="1350168" cy="261937"/>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1" name="Ellipse 170">
              <a:extLst>
                <a:ext uri="{FF2B5EF4-FFF2-40B4-BE49-F238E27FC236}">
                  <a16:creationId xmlns:a16="http://schemas.microsoft.com/office/drawing/2014/main" id="{28FE5EF5-31DA-4A85-8957-464F1FE93086}"/>
                </a:ext>
              </a:extLst>
            </p:cNvPr>
            <p:cNvSpPr/>
            <p:nvPr/>
          </p:nvSpPr>
          <p:spPr>
            <a:xfrm>
              <a:off x="1476735" y="826749"/>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72" name="Gerader Verbinder 171">
              <a:extLst>
                <a:ext uri="{FF2B5EF4-FFF2-40B4-BE49-F238E27FC236}">
                  <a16:creationId xmlns:a16="http://schemas.microsoft.com/office/drawing/2014/main" id="{0E5A7C5C-7579-4E44-B2EF-DFCCE8636FFF}"/>
                </a:ext>
              </a:extLst>
            </p:cNvPr>
            <p:cNvCxnSpPr>
              <a:cxnSpLocks/>
            </p:cNvCxnSpPr>
            <p:nvPr/>
          </p:nvCxnSpPr>
          <p:spPr>
            <a:xfrm flipV="1">
              <a:off x="-19050" y="1121569"/>
              <a:ext cx="176214" cy="164174"/>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3" name="Ellipse 172">
              <a:extLst>
                <a:ext uri="{FF2B5EF4-FFF2-40B4-BE49-F238E27FC236}">
                  <a16:creationId xmlns:a16="http://schemas.microsoft.com/office/drawing/2014/main" id="{D54AE4CD-3717-4B67-92A1-57980021739C}"/>
                </a:ext>
              </a:extLst>
            </p:cNvPr>
            <p:cNvSpPr/>
            <p:nvPr/>
          </p:nvSpPr>
          <p:spPr>
            <a:xfrm>
              <a:off x="227581" y="296798"/>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74" name="Gerader Verbinder 173">
              <a:extLst>
                <a:ext uri="{FF2B5EF4-FFF2-40B4-BE49-F238E27FC236}">
                  <a16:creationId xmlns:a16="http://schemas.microsoft.com/office/drawing/2014/main" id="{7C8B77F6-8C74-459A-94AD-B8229360245F}"/>
                </a:ext>
              </a:extLst>
            </p:cNvPr>
            <p:cNvCxnSpPr>
              <a:cxnSpLocks/>
            </p:cNvCxnSpPr>
            <p:nvPr/>
          </p:nvCxnSpPr>
          <p:spPr>
            <a:xfrm flipV="1">
              <a:off x="159544" y="330994"/>
              <a:ext cx="102394" cy="795338"/>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5" name="Ellipse 174">
              <a:extLst>
                <a:ext uri="{FF2B5EF4-FFF2-40B4-BE49-F238E27FC236}">
                  <a16:creationId xmlns:a16="http://schemas.microsoft.com/office/drawing/2014/main" id="{83C2F097-654F-4C42-AF25-30EC11890ED3}"/>
                </a:ext>
              </a:extLst>
            </p:cNvPr>
            <p:cNvSpPr/>
            <p:nvPr/>
          </p:nvSpPr>
          <p:spPr>
            <a:xfrm>
              <a:off x="1318552" y="2221492"/>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76" name="Ellipse 175">
              <a:extLst>
                <a:ext uri="{FF2B5EF4-FFF2-40B4-BE49-F238E27FC236}">
                  <a16:creationId xmlns:a16="http://schemas.microsoft.com/office/drawing/2014/main" id="{21839913-900B-469E-B214-B5235D8BCB6F}"/>
                </a:ext>
              </a:extLst>
            </p:cNvPr>
            <p:cNvSpPr/>
            <p:nvPr/>
          </p:nvSpPr>
          <p:spPr>
            <a:xfrm>
              <a:off x="163287" y="2066067"/>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77" name="Gerader Verbinder 176">
              <a:extLst>
                <a:ext uri="{FF2B5EF4-FFF2-40B4-BE49-F238E27FC236}">
                  <a16:creationId xmlns:a16="http://schemas.microsoft.com/office/drawing/2014/main" id="{5E075476-39AE-4493-9387-A8068EBF5DE5}"/>
                </a:ext>
              </a:extLst>
            </p:cNvPr>
            <p:cNvCxnSpPr>
              <a:cxnSpLocks/>
            </p:cNvCxnSpPr>
            <p:nvPr/>
          </p:nvCxnSpPr>
          <p:spPr>
            <a:xfrm flipH="1" flipV="1">
              <a:off x="-50800" y="1619250"/>
              <a:ext cx="246064" cy="485775"/>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78" name="Ellipse 177">
              <a:extLst>
                <a:ext uri="{FF2B5EF4-FFF2-40B4-BE49-F238E27FC236}">
                  <a16:creationId xmlns:a16="http://schemas.microsoft.com/office/drawing/2014/main" id="{52556C52-C4AF-423C-B1F2-B066FBA72E99}"/>
                </a:ext>
              </a:extLst>
            </p:cNvPr>
            <p:cNvSpPr/>
            <p:nvPr/>
          </p:nvSpPr>
          <p:spPr>
            <a:xfrm>
              <a:off x="842737" y="1164367"/>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79" name="Gerader Verbinder 178">
              <a:extLst>
                <a:ext uri="{FF2B5EF4-FFF2-40B4-BE49-F238E27FC236}">
                  <a16:creationId xmlns:a16="http://schemas.microsoft.com/office/drawing/2014/main" id="{771F695C-6D72-431B-B22D-7CA13F6687F1}"/>
                </a:ext>
              </a:extLst>
            </p:cNvPr>
            <p:cNvCxnSpPr>
              <a:cxnSpLocks/>
            </p:cNvCxnSpPr>
            <p:nvPr/>
          </p:nvCxnSpPr>
          <p:spPr>
            <a:xfrm flipH="1" flipV="1">
              <a:off x="322258" y="-623009"/>
              <a:ext cx="533406" cy="1585035"/>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80" name="Ellipse 179">
              <a:extLst>
                <a:ext uri="{FF2B5EF4-FFF2-40B4-BE49-F238E27FC236}">
                  <a16:creationId xmlns:a16="http://schemas.microsoft.com/office/drawing/2014/main" id="{FA26878A-77DD-4738-A156-A4667C2D270D}"/>
                </a:ext>
              </a:extLst>
            </p:cNvPr>
            <p:cNvSpPr/>
            <p:nvPr/>
          </p:nvSpPr>
          <p:spPr>
            <a:xfrm>
              <a:off x="823687" y="952436"/>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81" name="Gerader Verbinder 180">
              <a:extLst>
                <a:ext uri="{FF2B5EF4-FFF2-40B4-BE49-F238E27FC236}">
                  <a16:creationId xmlns:a16="http://schemas.microsoft.com/office/drawing/2014/main" id="{DAEEC996-D367-4130-89D9-6E06869D77BB}"/>
                </a:ext>
              </a:extLst>
            </p:cNvPr>
            <p:cNvCxnSpPr>
              <a:cxnSpLocks/>
            </p:cNvCxnSpPr>
            <p:nvPr/>
          </p:nvCxnSpPr>
          <p:spPr>
            <a:xfrm flipV="1">
              <a:off x="864394" y="1203325"/>
              <a:ext cx="11906" cy="218282"/>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182" name="Gerader Verbinder 181">
              <a:extLst>
                <a:ext uri="{FF2B5EF4-FFF2-40B4-BE49-F238E27FC236}">
                  <a16:creationId xmlns:a16="http://schemas.microsoft.com/office/drawing/2014/main" id="{54B1ACDC-9128-49D2-AC4F-CAAB31D1E7CA}"/>
                </a:ext>
              </a:extLst>
            </p:cNvPr>
            <p:cNvCxnSpPr>
              <a:cxnSpLocks/>
            </p:cNvCxnSpPr>
            <p:nvPr/>
          </p:nvCxnSpPr>
          <p:spPr>
            <a:xfrm flipH="1" flipV="1">
              <a:off x="857250" y="981075"/>
              <a:ext cx="16669" cy="216694"/>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83" name="Ellipse 182">
              <a:extLst>
                <a:ext uri="{FF2B5EF4-FFF2-40B4-BE49-F238E27FC236}">
                  <a16:creationId xmlns:a16="http://schemas.microsoft.com/office/drawing/2014/main" id="{5992C283-EDDA-4E0B-8AF6-EB2A346D9853}"/>
                </a:ext>
              </a:extLst>
            </p:cNvPr>
            <p:cNvSpPr/>
            <p:nvPr/>
          </p:nvSpPr>
          <p:spPr>
            <a:xfrm>
              <a:off x="2298792" y="2304057"/>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4" name="Ellipse 183">
              <a:extLst>
                <a:ext uri="{FF2B5EF4-FFF2-40B4-BE49-F238E27FC236}">
                  <a16:creationId xmlns:a16="http://schemas.microsoft.com/office/drawing/2014/main" id="{95DDD231-B500-4BA6-9F42-5E0B01CFE5CD}"/>
                </a:ext>
              </a:extLst>
            </p:cNvPr>
            <p:cNvSpPr/>
            <p:nvPr/>
          </p:nvSpPr>
          <p:spPr>
            <a:xfrm>
              <a:off x="747940" y="3233341"/>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5" name="Raute 184">
              <a:extLst>
                <a:ext uri="{FF2B5EF4-FFF2-40B4-BE49-F238E27FC236}">
                  <a16:creationId xmlns:a16="http://schemas.microsoft.com/office/drawing/2014/main" id="{E8196D65-54E4-4130-BD71-9F36428D3546}"/>
                </a:ext>
              </a:extLst>
            </p:cNvPr>
            <p:cNvSpPr>
              <a:spLocks/>
            </p:cNvSpPr>
            <p:nvPr/>
          </p:nvSpPr>
          <p:spPr>
            <a:xfrm>
              <a:off x="1842483" y="2747315"/>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6" name="Freihandform: Form 185">
              <a:extLst>
                <a:ext uri="{FF2B5EF4-FFF2-40B4-BE49-F238E27FC236}">
                  <a16:creationId xmlns:a16="http://schemas.microsoft.com/office/drawing/2014/main" id="{7F2A1422-AF27-400C-9421-F75D9B450100}"/>
                </a:ext>
              </a:extLst>
            </p:cNvPr>
            <p:cNvSpPr>
              <a:spLocks/>
            </p:cNvSpPr>
            <p:nvPr/>
          </p:nvSpPr>
          <p:spPr>
            <a:xfrm>
              <a:off x="2065681" y="3017071"/>
              <a:ext cx="425314" cy="332196"/>
            </a:xfrm>
            <a:custGeom>
              <a:avLst/>
              <a:gdLst>
                <a:gd name="connsiteX0" fmla="*/ 529583 w 794905"/>
                <a:gd name="connsiteY0" fmla="*/ 358928 h 620869"/>
                <a:gd name="connsiteX1" fmla="*/ 615716 w 794905"/>
                <a:gd name="connsiteY1" fmla="*/ 410595 h 620869"/>
                <a:gd name="connsiteX2" fmla="*/ 529583 w 794905"/>
                <a:gd name="connsiteY2" fmla="*/ 456528 h 620869"/>
                <a:gd name="connsiteX3" fmla="*/ 529583 w 794905"/>
                <a:gd name="connsiteY3" fmla="*/ 358928 h 620869"/>
                <a:gd name="connsiteX4" fmla="*/ 726554 w 794905"/>
                <a:gd name="connsiteY4" fmla="*/ 51183 h 620869"/>
                <a:gd name="connsiteX5" fmla="*/ 639648 w 794905"/>
                <a:gd name="connsiteY5" fmla="*/ 175454 h 620869"/>
                <a:gd name="connsiteX6" fmla="*/ 548362 w 794905"/>
                <a:gd name="connsiteY6" fmla="*/ 327587 h 620869"/>
                <a:gd name="connsiteX7" fmla="*/ 634849 w 794905"/>
                <a:gd name="connsiteY7" fmla="*/ 379479 h 620869"/>
                <a:gd name="connsiteX8" fmla="*/ 726135 w 794905"/>
                <a:gd name="connsiteY8" fmla="*/ 227346 h 620869"/>
                <a:gd name="connsiteX9" fmla="*/ 794906 w 794905"/>
                <a:gd name="connsiteY9" fmla="*/ 92188 h 620869"/>
                <a:gd name="connsiteX10" fmla="*/ 726554 w 794905"/>
                <a:gd name="connsiteY10" fmla="*/ 51183 h 620869"/>
                <a:gd name="connsiteX11" fmla="*/ 273923 w 794905"/>
                <a:gd name="connsiteY11" fmla="*/ 0 h 620869"/>
                <a:gd name="connsiteX12" fmla="*/ 438264 w 794905"/>
                <a:gd name="connsiteY12" fmla="*/ 164341 h 620869"/>
                <a:gd name="connsiteX13" fmla="*/ 438264 w 794905"/>
                <a:gd name="connsiteY13" fmla="*/ 620869 h 620869"/>
                <a:gd name="connsiteX14" fmla="*/ 0 w 794905"/>
                <a:gd name="connsiteY14" fmla="*/ 620869 h 620869"/>
                <a:gd name="connsiteX15" fmla="*/ 0 w 794905"/>
                <a:gd name="connsiteY15" fmla="*/ 0 h 620869"/>
                <a:gd name="connsiteX16" fmla="*/ 273923 w 794905"/>
                <a:gd name="connsiteY16" fmla="*/ 0 h 620869"/>
                <a:gd name="connsiteX17" fmla="*/ 255660 w 794905"/>
                <a:gd name="connsiteY17" fmla="*/ 492605 h 620869"/>
                <a:gd name="connsiteX18" fmla="*/ 54791 w 794905"/>
                <a:gd name="connsiteY18" fmla="*/ 492605 h 620869"/>
                <a:gd name="connsiteX19" fmla="*/ 54791 w 794905"/>
                <a:gd name="connsiteY19" fmla="*/ 530034 h 620869"/>
                <a:gd name="connsiteX20" fmla="*/ 255660 w 794905"/>
                <a:gd name="connsiteY20" fmla="*/ 530034 h 620869"/>
                <a:gd name="connsiteX21" fmla="*/ 255660 w 794905"/>
                <a:gd name="connsiteY21" fmla="*/ 492605 h 620869"/>
                <a:gd name="connsiteX22" fmla="*/ 383506 w 794905"/>
                <a:gd name="connsiteY22" fmla="*/ 419550 h 620869"/>
                <a:gd name="connsiteX23" fmla="*/ 54791 w 794905"/>
                <a:gd name="connsiteY23" fmla="*/ 419550 h 620869"/>
                <a:gd name="connsiteX24" fmla="*/ 54791 w 794905"/>
                <a:gd name="connsiteY24" fmla="*/ 456979 h 620869"/>
                <a:gd name="connsiteX25" fmla="*/ 383506 w 794905"/>
                <a:gd name="connsiteY25" fmla="*/ 456979 h 620869"/>
                <a:gd name="connsiteX26" fmla="*/ 383506 w 794905"/>
                <a:gd name="connsiteY26" fmla="*/ 419550 h 620869"/>
                <a:gd name="connsiteX27" fmla="*/ 383506 w 794905"/>
                <a:gd name="connsiteY27" fmla="*/ 346495 h 620869"/>
                <a:gd name="connsiteX28" fmla="*/ 54791 w 794905"/>
                <a:gd name="connsiteY28" fmla="*/ 346495 h 620869"/>
                <a:gd name="connsiteX29" fmla="*/ 54791 w 794905"/>
                <a:gd name="connsiteY29" fmla="*/ 383924 h 620869"/>
                <a:gd name="connsiteX30" fmla="*/ 383506 w 794905"/>
                <a:gd name="connsiteY30" fmla="*/ 383924 h 620869"/>
                <a:gd name="connsiteX31" fmla="*/ 383506 w 794905"/>
                <a:gd name="connsiteY31" fmla="*/ 346495 h 620869"/>
                <a:gd name="connsiteX32" fmla="*/ 383506 w 794905"/>
                <a:gd name="connsiteY32" fmla="*/ 273472 h 620869"/>
                <a:gd name="connsiteX33" fmla="*/ 54791 w 794905"/>
                <a:gd name="connsiteY33" fmla="*/ 273472 h 620869"/>
                <a:gd name="connsiteX34" fmla="*/ 54791 w 794905"/>
                <a:gd name="connsiteY34" fmla="*/ 310902 h 620869"/>
                <a:gd name="connsiteX35" fmla="*/ 383506 w 794905"/>
                <a:gd name="connsiteY35" fmla="*/ 310902 h 620869"/>
                <a:gd name="connsiteX36" fmla="*/ 383506 w 794905"/>
                <a:gd name="connsiteY36" fmla="*/ 273472 h 620869"/>
                <a:gd name="connsiteX37" fmla="*/ 383506 w 794905"/>
                <a:gd name="connsiteY37" fmla="*/ 200417 h 620869"/>
                <a:gd name="connsiteX38" fmla="*/ 54791 w 794905"/>
                <a:gd name="connsiteY38" fmla="*/ 200417 h 620869"/>
                <a:gd name="connsiteX39" fmla="*/ 54791 w 794905"/>
                <a:gd name="connsiteY39" fmla="*/ 237847 h 620869"/>
                <a:gd name="connsiteX40" fmla="*/ 383506 w 794905"/>
                <a:gd name="connsiteY40" fmla="*/ 237847 h 620869"/>
                <a:gd name="connsiteX41" fmla="*/ 383506 w 794905"/>
                <a:gd name="connsiteY41" fmla="*/ 200417 h 62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94905" h="620869">
                  <a:moveTo>
                    <a:pt x="529583" y="358928"/>
                  </a:moveTo>
                  <a:lnTo>
                    <a:pt x="615716" y="410595"/>
                  </a:lnTo>
                  <a:lnTo>
                    <a:pt x="529583" y="456528"/>
                  </a:lnTo>
                  <a:lnTo>
                    <a:pt x="529583" y="358928"/>
                  </a:lnTo>
                  <a:close/>
                  <a:moveTo>
                    <a:pt x="726554" y="51183"/>
                  </a:moveTo>
                  <a:lnTo>
                    <a:pt x="639648" y="175454"/>
                  </a:lnTo>
                  <a:lnTo>
                    <a:pt x="548362" y="327587"/>
                  </a:lnTo>
                  <a:lnTo>
                    <a:pt x="634849" y="379479"/>
                  </a:lnTo>
                  <a:lnTo>
                    <a:pt x="726135" y="227346"/>
                  </a:lnTo>
                  <a:lnTo>
                    <a:pt x="794906" y="92188"/>
                  </a:lnTo>
                  <a:lnTo>
                    <a:pt x="726554" y="51183"/>
                  </a:lnTo>
                  <a:close/>
                  <a:moveTo>
                    <a:pt x="273923" y="0"/>
                  </a:moveTo>
                  <a:lnTo>
                    <a:pt x="438264" y="164341"/>
                  </a:lnTo>
                  <a:lnTo>
                    <a:pt x="438264" y="620869"/>
                  </a:lnTo>
                  <a:lnTo>
                    <a:pt x="0" y="620869"/>
                  </a:lnTo>
                  <a:lnTo>
                    <a:pt x="0" y="0"/>
                  </a:lnTo>
                  <a:lnTo>
                    <a:pt x="273923" y="0"/>
                  </a:lnTo>
                  <a:close/>
                  <a:moveTo>
                    <a:pt x="255660" y="492605"/>
                  </a:moveTo>
                  <a:lnTo>
                    <a:pt x="54791" y="492605"/>
                  </a:lnTo>
                  <a:lnTo>
                    <a:pt x="54791" y="530034"/>
                  </a:lnTo>
                  <a:lnTo>
                    <a:pt x="255660" y="530034"/>
                  </a:lnTo>
                  <a:lnTo>
                    <a:pt x="255660" y="492605"/>
                  </a:lnTo>
                  <a:close/>
                  <a:moveTo>
                    <a:pt x="383506" y="419550"/>
                  </a:moveTo>
                  <a:lnTo>
                    <a:pt x="54791" y="419550"/>
                  </a:lnTo>
                  <a:lnTo>
                    <a:pt x="54791" y="456979"/>
                  </a:lnTo>
                  <a:lnTo>
                    <a:pt x="383506" y="456979"/>
                  </a:lnTo>
                  <a:lnTo>
                    <a:pt x="383506" y="419550"/>
                  </a:lnTo>
                  <a:close/>
                  <a:moveTo>
                    <a:pt x="383506" y="346495"/>
                  </a:moveTo>
                  <a:lnTo>
                    <a:pt x="54791" y="346495"/>
                  </a:lnTo>
                  <a:lnTo>
                    <a:pt x="54791" y="383924"/>
                  </a:lnTo>
                  <a:lnTo>
                    <a:pt x="383506" y="383924"/>
                  </a:lnTo>
                  <a:lnTo>
                    <a:pt x="383506" y="346495"/>
                  </a:lnTo>
                  <a:close/>
                  <a:moveTo>
                    <a:pt x="383506" y="273472"/>
                  </a:moveTo>
                  <a:lnTo>
                    <a:pt x="54791" y="273472"/>
                  </a:lnTo>
                  <a:lnTo>
                    <a:pt x="54791" y="310902"/>
                  </a:lnTo>
                  <a:lnTo>
                    <a:pt x="383506" y="310902"/>
                  </a:lnTo>
                  <a:lnTo>
                    <a:pt x="383506" y="273472"/>
                  </a:lnTo>
                  <a:close/>
                  <a:moveTo>
                    <a:pt x="383506" y="200417"/>
                  </a:moveTo>
                  <a:lnTo>
                    <a:pt x="54791" y="200417"/>
                  </a:lnTo>
                  <a:lnTo>
                    <a:pt x="54791" y="237847"/>
                  </a:lnTo>
                  <a:lnTo>
                    <a:pt x="383506" y="237847"/>
                  </a:lnTo>
                  <a:lnTo>
                    <a:pt x="383506" y="200417"/>
                  </a:lnTo>
                  <a:close/>
                </a:path>
              </a:pathLst>
            </a:custGeom>
            <a:solidFill>
              <a:schemeClr val="tx1"/>
            </a:solidFill>
            <a:ln w="3219"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7" name="Raute 186">
              <a:extLst>
                <a:ext uri="{FF2B5EF4-FFF2-40B4-BE49-F238E27FC236}">
                  <a16:creationId xmlns:a16="http://schemas.microsoft.com/office/drawing/2014/main" id="{39B88549-21D2-454E-B197-19CDF538E45C}"/>
                </a:ext>
              </a:extLst>
            </p:cNvPr>
            <p:cNvSpPr>
              <a:spLocks/>
            </p:cNvSpPr>
            <p:nvPr/>
          </p:nvSpPr>
          <p:spPr>
            <a:xfrm>
              <a:off x="388333" y="4068115"/>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8" name="Grafik 26">
              <a:extLst>
                <a:ext uri="{FF2B5EF4-FFF2-40B4-BE49-F238E27FC236}">
                  <a16:creationId xmlns:a16="http://schemas.microsoft.com/office/drawing/2014/main" id="{67539E15-C207-4B31-805E-912FD7C52823}"/>
                </a:ext>
              </a:extLst>
            </p:cNvPr>
            <p:cNvSpPr>
              <a:spLocks/>
            </p:cNvSpPr>
            <p:nvPr/>
          </p:nvSpPr>
          <p:spPr>
            <a:xfrm>
              <a:off x="634754" y="4383055"/>
              <a:ext cx="378867" cy="241828"/>
            </a:xfrm>
            <a:custGeom>
              <a:avLst/>
              <a:gdLst>
                <a:gd name="connsiteX0" fmla="*/ 2159984 w 2538031"/>
                <a:gd name="connsiteY0" fmla="*/ 0 h 1620012"/>
                <a:gd name="connsiteX1" fmla="*/ 0 w 2538031"/>
                <a:gd name="connsiteY1" fmla="*/ 0 h 1620012"/>
                <a:gd name="connsiteX2" fmla="*/ 0 w 2538031"/>
                <a:gd name="connsiteY2" fmla="*/ 1620012 h 1620012"/>
                <a:gd name="connsiteX3" fmla="*/ 2538032 w 2538031"/>
                <a:gd name="connsiteY3" fmla="*/ 1620012 h 1620012"/>
                <a:gd name="connsiteX4" fmla="*/ 2538032 w 2538031"/>
                <a:gd name="connsiteY4" fmla="*/ 377952 h 1620012"/>
                <a:gd name="connsiteX5" fmla="*/ 2159984 w 2538031"/>
                <a:gd name="connsiteY5" fmla="*/ 0 h 1620012"/>
                <a:gd name="connsiteX6" fmla="*/ 860870 w 2538031"/>
                <a:gd name="connsiteY6" fmla="*/ 944975 h 1620012"/>
                <a:gd name="connsiteX7" fmla="*/ 858298 w 2538031"/>
                <a:gd name="connsiteY7" fmla="*/ 983837 h 1620012"/>
                <a:gd name="connsiteX8" fmla="*/ 965740 w 2538031"/>
                <a:gd name="connsiteY8" fmla="*/ 1018794 h 1620012"/>
                <a:gd name="connsiteX9" fmla="*/ 932402 w 2538031"/>
                <a:gd name="connsiteY9" fmla="*/ 1121474 h 1620012"/>
                <a:gd name="connsiteX10" fmla="*/ 825056 w 2538031"/>
                <a:gd name="connsiteY10" fmla="*/ 1086612 h 1620012"/>
                <a:gd name="connsiteX11" fmla="*/ 779240 w 2538031"/>
                <a:gd name="connsiteY11" fmla="*/ 1149477 h 1620012"/>
                <a:gd name="connsiteX12" fmla="*/ 845725 w 2538031"/>
                <a:gd name="connsiteY12" fmla="*/ 1240917 h 1620012"/>
                <a:gd name="connsiteX13" fmla="*/ 758381 w 2538031"/>
                <a:gd name="connsiteY13" fmla="*/ 1304354 h 1620012"/>
                <a:gd name="connsiteX14" fmla="*/ 691991 w 2538031"/>
                <a:gd name="connsiteY14" fmla="*/ 1213009 h 1620012"/>
                <a:gd name="connsiteX15" fmla="*/ 617982 w 2538031"/>
                <a:gd name="connsiteY15" fmla="*/ 1237012 h 1620012"/>
                <a:gd name="connsiteX16" fmla="*/ 617982 w 2538031"/>
                <a:gd name="connsiteY16" fmla="*/ 1349978 h 1620012"/>
                <a:gd name="connsiteX17" fmla="*/ 509873 w 2538031"/>
                <a:gd name="connsiteY17" fmla="*/ 1349978 h 1620012"/>
                <a:gd name="connsiteX18" fmla="*/ 509873 w 2538031"/>
                <a:gd name="connsiteY18" fmla="*/ 1237012 h 1620012"/>
                <a:gd name="connsiteX19" fmla="*/ 435864 w 2538031"/>
                <a:gd name="connsiteY19" fmla="*/ 1213009 h 1620012"/>
                <a:gd name="connsiteX20" fmla="*/ 369475 w 2538031"/>
                <a:gd name="connsiteY20" fmla="*/ 1304354 h 1620012"/>
                <a:gd name="connsiteX21" fmla="*/ 282131 w 2538031"/>
                <a:gd name="connsiteY21" fmla="*/ 1240917 h 1620012"/>
                <a:gd name="connsiteX22" fmla="*/ 348615 w 2538031"/>
                <a:gd name="connsiteY22" fmla="*/ 1149477 h 1620012"/>
                <a:gd name="connsiteX23" fmla="*/ 302800 w 2538031"/>
                <a:gd name="connsiteY23" fmla="*/ 1086612 h 1620012"/>
                <a:gd name="connsiteX24" fmla="*/ 195453 w 2538031"/>
                <a:gd name="connsiteY24" fmla="*/ 1121474 h 1620012"/>
                <a:gd name="connsiteX25" fmla="*/ 162116 w 2538031"/>
                <a:gd name="connsiteY25" fmla="*/ 1018794 h 1620012"/>
                <a:gd name="connsiteX26" fmla="*/ 269558 w 2538031"/>
                <a:gd name="connsiteY26" fmla="*/ 983837 h 1620012"/>
                <a:gd name="connsiteX27" fmla="*/ 266986 w 2538031"/>
                <a:gd name="connsiteY27" fmla="*/ 944975 h 1620012"/>
                <a:gd name="connsiteX28" fmla="*/ 269558 w 2538031"/>
                <a:gd name="connsiteY28" fmla="*/ 906113 h 1620012"/>
                <a:gd name="connsiteX29" fmla="*/ 162116 w 2538031"/>
                <a:gd name="connsiteY29" fmla="*/ 871157 h 1620012"/>
                <a:gd name="connsiteX30" fmla="*/ 195453 w 2538031"/>
                <a:gd name="connsiteY30" fmla="*/ 768382 h 1620012"/>
                <a:gd name="connsiteX31" fmla="*/ 302800 w 2538031"/>
                <a:gd name="connsiteY31" fmla="*/ 803243 h 1620012"/>
                <a:gd name="connsiteX32" fmla="*/ 348615 w 2538031"/>
                <a:gd name="connsiteY32" fmla="*/ 740378 h 1620012"/>
                <a:gd name="connsiteX33" fmla="*/ 282131 w 2538031"/>
                <a:gd name="connsiteY33" fmla="*/ 648938 h 1620012"/>
                <a:gd name="connsiteX34" fmla="*/ 369475 w 2538031"/>
                <a:gd name="connsiteY34" fmla="*/ 585502 h 1620012"/>
                <a:gd name="connsiteX35" fmla="*/ 435864 w 2538031"/>
                <a:gd name="connsiteY35" fmla="*/ 676847 h 1620012"/>
                <a:gd name="connsiteX36" fmla="*/ 509873 w 2538031"/>
                <a:gd name="connsiteY36" fmla="*/ 652844 h 1620012"/>
                <a:gd name="connsiteX37" fmla="*/ 509873 w 2538031"/>
                <a:gd name="connsiteY37" fmla="*/ 539972 h 1620012"/>
                <a:gd name="connsiteX38" fmla="*/ 617887 w 2538031"/>
                <a:gd name="connsiteY38" fmla="*/ 539972 h 1620012"/>
                <a:gd name="connsiteX39" fmla="*/ 617887 w 2538031"/>
                <a:gd name="connsiteY39" fmla="*/ 652939 h 1620012"/>
                <a:gd name="connsiteX40" fmla="*/ 691896 w 2538031"/>
                <a:gd name="connsiteY40" fmla="*/ 676942 h 1620012"/>
                <a:gd name="connsiteX41" fmla="*/ 758285 w 2538031"/>
                <a:gd name="connsiteY41" fmla="*/ 585597 h 1620012"/>
                <a:gd name="connsiteX42" fmla="*/ 845630 w 2538031"/>
                <a:gd name="connsiteY42" fmla="*/ 649034 h 1620012"/>
                <a:gd name="connsiteX43" fmla="*/ 779145 w 2538031"/>
                <a:gd name="connsiteY43" fmla="*/ 740474 h 1620012"/>
                <a:gd name="connsiteX44" fmla="*/ 824960 w 2538031"/>
                <a:gd name="connsiteY44" fmla="*/ 803338 h 1620012"/>
                <a:gd name="connsiteX45" fmla="*/ 932307 w 2538031"/>
                <a:gd name="connsiteY45" fmla="*/ 768477 h 1620012"/>
                <a:gd name="connsiteX46" fmla="*/ 965645 w 2538031"/>
                <a:gd name="connsiteY46" fmla="*/ 871252 h 1620012"/>
                <a:gd name="connsiteX47" fmla="*/ 858203 w 2538031"/>
                <a:gd name="connsiteY47" fmla="*/ 906113 h 1620012"/>
                <a:gd name="connsiteX48" fmla="*/ 860870 w 2538031"/>
                <a:gd name="connsiteY48" fmla="*/ 944975 h 1620012"/>
                <a:gd name="connsiteX49" fmla="*/ 1269016 w 2538031"/>
                <a:gd name="connsiteY49" fmla="*/ 1378363 h 1620012"/>
                <a:gd name="connsiteX50" fmla="*/ 1186625 w 2538031"/>
                <a:gd name="connsiteY50" fmla="*/ 1296067 h 1620012"/>
                <a:gd name="connsiteX51" fmla="*/ 1269016 w 2538031"/>
                <a:gd name="connsiteY51" fmla="*/ 1213676 h 1620012"/>
                <a:gd name="connsiteX52" fmla="*/ 1351407 w 2538031"/>
                <a:gd name="connsiteY52" fmla="*/ 1296067 h 1620012"/>
                <a:gd name="connsiteX53" fmla="*/ 1269016 w 2538031"/>
                <a:gd name="connsiteY53" fmla="*/ 1378363 h 1620012"/>
                <a:gd name="connsiteX54" fmla="*/ 1269016 w 2538031"/>
                <a:gd name="connsiteY54" fmla="*/ 1054322 h 1620012"/>
                <a:gd name="connsiteX55" fmla="*/ 1186625 w 2538031"/>
                <a:gd name="connsiteY55" fmla="*/ 972026 h 1620012"/>
                <a:gd name="connsiteX56" fmla="*/ 1269016 w 2538031"/>
                <a:gd name="connsiteY56" fmla="*/ 889635 h 1620012"/>
                <a:gd name="connsiteX57" fmla="*/ 1351407 w 2538031"/>
                <a:gd name="connsiteY57" fmla="*/ 972026 h 1620012"/>
                <a:gd name="connsiteX58" fmla="*/ 1269016 w 2538031"/>
                <a:gd name="connsiteY58" fmla="*/ 1054322 h 1620012"/>
                <a:gd name="connsiteX59" fmla="*/ 1269016 w 2538031"/>
                <a:gd name="connsiteY59" fmla="*/ 730377 h 1620012"/>
                <a:gd name="connsiteX60" fmla="*/ 1186625 w 2538031"/>
                <a:gd name="connsiteY60" fmla="*/ 648081 h 1620012"/>
                <a:gd name="connsiteX61" fmla="*/ 1269016 w 2538031"/>
                <a:gd name="connsiteY61" fmla="*/ 565690 h 1620012"/>
                <a:gd name="connsiteX62" fmla="*/ 1351407 w 2538031"/>
                <a:gd name="connsiteY62" fmla="*/ 648081 h 1620012"/>
                <a:gd name="connsiteX63" fmla="*/ 1269016 w 2538031"/>
                <a:gd name="connsiteY63" fmla="*/ 730377 h 1620012"/>
                <a:gd name="connsiteX64" fmla="*/ 1269016 w 2538031"/>
                <a:gd name="connsiteY64" fmla="*/ 406337 h 1620012"/>
                <a:gd name="connsiteX65" fmla="*/ 1186625 w 2538031"/>
                <a:gd name="connsiteY65" fmla="*/ 324041 h 1620012"/>
                <a:gd name="connsiteX66" fmla="*/ 1269016 w 2538031"/>
                <a:gd name="connsiteY66" fmla="*/ 241649 h 1620012"/>
                <a:gd name="connsiteX67" fmla="*/ 1351407 w 2538031"/>
                <a:gd name="connsiteY67" fmla="*/ 324041 h 1620012"/>
                <a:gd name="connsiteX68" fmla="*/ 1269016 w 2538031"/>
                <a:gd name="connsiteY68" fmla="*/ 406337 h 1620012"/>
                <a:gd name="connsiteX69" fmla="*/ 2213991 w 2538031"/>
                <a:gd name="connsiteY69" fmla="*/ 1351312 h 1620012"/>
                <a:gd name="connsiteX70" fmla="*/ 1457992 w 2538031"/>
                <a:gd name="connsiteY70" fmla="*/ 1351312 h 1620012"/>
                <a:gd name="connsiteX71" fmla="*/ 1457992 w 2538031"/>
                <a:gd name="connsiteY71" fmla="*/ 1240631 h 1620012"/>
                <a:gd name="connsiteX72" fmla="*/ 2213991 w 2538031"/>
                <a:gd name="connsiteY72" fmla="*/ 1240631 h 1620012"/>
                <a:gd name="connsiteX73" fmla="*/ 2213991 w 2538031"/>
                <a:gd name="connsiteY73" fmla="*/ 1351312 h 1620012"/>
                <a:gd name="connsiteX74" fmla="*/ 2213991 w 2538031"/>
                <a:gd name="connsiteY74" fmla="*/ 1027367 h 1620012"/>
                <a:gd name="connsiteX75" fmla="*/ 1457992 w 2538031"/>
                <a:gd name="connsiteY75" fmla="*/ 1027367 h 1620012"/>
                <a:gd name="connsiteX76" fmla="*/ 1457992 w 2538031"/>
                <a:gd name="connsiteY76" fmla="*/ 916591 h 1620012"/>
                <a:gd name="connsiteX77" fmla="*/ 2213991 w 2538031"/>
                <a:gd name="connsiteY77" fmla="*/ 916591 h 1620012"/>
                <a:gd name="connsiteX78" fmla="*/ 2213991 w 2538031"/>
                <a:gd name="connsiteY78" fmla="*/ 1027367 h 1620012"/>
                <a:gd name="connsiteX79" fmla="*/ 2213991 w 2538031"/>
                <a:gd name="connsiteY79" fmla="*/ 703326 h 1620012"/>
                <a:gd name="connsiteX80" fmla="*/ 1457992 w 2538031"/>
                <a:gd name="connsiteY80" fmla="*/ 703326 h 1620012"/>
                <a:gd name="connsiteX81" fmla="*/ 1457992 w 2538031"/>
                <a:gd name="connsiteY81" fmla="*/ 592646 h 1620012"/>
                <a:gd name="connsiteX82" fmla="*/ 2213991 w 2538031"/>
                <a:gd name="connsiteY82" fmla="*/ 592646 h 1620012"/>
                <a:gd name="connsiteX83" fmla="*/ 2213991 w 2538031"/>
                <a:gd name="connsiteY83" fmla="*/ 703326 h 1620012"/>
                <a:gd name="connsiteX84" fmla="*/ 2213991 w 2538031"/>
                <a:gd name="connsiteY84" fmla="*/ 379381 h 1620012"/>
                <a:gd name="connsiteX85" fmla="*/ 1457992 w 2538031"/>
                <a:gd name="connsiteY85" fmla="*/ 379381 h 1620012"/>
                <a:gd name="connsiteX86" fmla="*/ 1457992 w 2538031"/>
                <a:gd name="connsiteY86" fmla="*/ 268605 h 1620012"/>
                <a:gd name="connsiteX87" fmla="*/ 2213991 w 2538031"/>
                <a:gd name="connsiteY87" fmla="*/ 268605 h 1620012"/>
                <a:gd name="connsiteX88" fmla="*/ 2213991 w 2538031"/>
                <a:gd name="connsiteY88" fmla="*/ 379381 h 1620012"/>
                <a:gd name="connsiteX89" fmla="*/ 698849 w 2538031"/>
                <a:gd name="connsiteY89" fmla="*/ 944975 h 1620012"/>
                <a:gd name="connsiteX90" fmla="*/ 563880 w 2538031"/>
                <a:gd name="connsiteY90" fmla="*/ 1079945 h 1620012"/>
                <a:gd name="connsiteX91" fmla="*/ 428911 w 2538031"/>
                <a:gd name="connsiteY91" fmla="*/ 944975 h 1620012"/>
                <a:gd name="connsiteX92" fmla="*/ 563880 w 2538031"/>
                <a:gd name="connsiteY92" fmla="*/ 810006 h 1620012"/>
                <a:gd name="connsiteX93" fmla="*/ 698849 w 2538031"/>
                <a:gd name="connsiteY93" fmla="*/ 944975 h 162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2538031" h="1620012">
                  <a:moveTo>
                    <a:pt x="2159984" y="0"/>
                  </a:moveTo>
                  <a:lnTo>
                    <a:pt x="0" y="0"/>
                  </a:lnTo>
                  <a:lnTo>
                    <a:pt x="0" y="1620012"/>
                  </a:lnTo>
                  <a:lnTo>
                    <a:pt x="2538032" y="1620012"/>
                  </a:lnTo>
                  <a:lnTo>
                    <a:pt x="2538032" y="377952"/>
                  </a:lnTo>
                  <a:lnTo>
                    <a:pt x="2159984" y="0"/>
                  </a:lnTo>
                  <a:close/>
                  <a:moveTo>
                    <a:pt x="860870" y="944975"/>
                  </a:moveTo>
                  <a:cubicBezTo>
                    <a:pt x="860870" y="958120"/>
                    <a:pt x="859917" y="971169"/>
                    <a:pt x="858298" y="983837"/>
                  </a:cubicBezTo>
                  <a:lnTo>
                    <a:pt x="965740" y="1018794"/>
                  </a:lnTo>
                  <a:lnTo>
                    <a:pt x="932402" y="1121474"/>
                  </a:lnTo>
                  <a:lnTo>
                    <a:pt x="825056" y="1086612"/>
                  </a:lnTo>
                  <a:cubicBezTo>
                    <a:pt x="812578" y="1109567"/>
                    <a:pt x="797052" y="1130713"/>
                    <a:pt x="779240" y="1149477"/>
                  </a:cubicBezTo>
                  <a:lnTo>
                    <a:pt x="845725" y="1240917"/>
                  </a:lnTo>
                  <a:lnTo>
                    <a:pt x="758381" y="1304354"/>
                  </a:lnTo>
                  <a:lnTo>
                    <a:pt x="691991" y="1213009"/>
                  </a:lnTo>
                  <a:cubicBezTo>
                    <a:pt x="668846" y="1224058"/>
                    <a:pt x="643985" y="1232154"/>
                    <a:pt x="617982" y="1237012"/>
                  </a:cubicBezTo>
                  <a:lnTo>
                    <a:pt x="617982" y="1349978"/>
                  </a:lnTo>
                  <a:lnTo>
                    <a:pt x="509873" y="1349978"/>
                  </a:lnTo>
                  <a:lnTo>
                    <a:pt x="509873" y="1237012"/>
                  </a:lnTo>
                  <a:cubicBezTo>
                    <a:pt x="483870" y="1232249"/>
                    <a:pt x="459010" y="1224153"/>
                    <a:pt x="435864" y="1213009"/>
                  </a:cubicBezTo>
                  <a:lnTo>
                    <a:pt x="369475" y="1304354"/>
                  </a:lnTo>
                  <a:lnTo>
                    <a:pt x="282131" y="1240917"/>
                  </a:lnTo>
                  <a:lnTo>
                    <a:pt x="348615" y="1149477"/>
                  </a:lnTo>
                  <a:cubicBezTo>
                    <a:pt x="330708" y="1130713"/>
                    <a:pt x="315278" y="1109567"/>
                    <a:pt x="302800" y="1086612"/>
                  </a:cubicBezTo>
                  <a:lnTo>
                    <a:pt x="195453" y="1121474"/>
                  </a:lnTo>
                  <a:lnTo>
                    <a:pt x="162116" y="1018794"/>
                  </a:lnTo>
                  <a:lnTo>
                    <a:pt x="269558" y="983837"/>
                  </a:lnTo>
                  <a:cubicBezTo>
                    <a:pt x="267938" y="971074"/>
                    <a:pt x="266986" y="958120"/>
                    <a:pt x="266986" y="944975"/>
                  </a:cubicBezTo>
                  <a:cubicBezTo>
                    <a:pt x="266986" y="931831"/>
                    <a:pt x="267938" y="918877"/>
                    <a:pt x="269558" y="906113"/>
                  </a:cubicBezTo>
                  <a:lnTo>
                    <a:pt x="162116" y="871157"/>
                  </a:lnTo>
                  <a:lnTo>
                    <a:pt x="195453" y="768382"/>
                  </a:lnTo>
                  <a:lnTo>
                    <a:pt x="302800" y="803243"/>
                  </a:lnTo>
                  <a:cubicBezTo>
                    <a:pt x="315278" y="780288"/>
                    <a:pt x="330803" y="759143"/>
                    <a:pt x="348615" y="740378"/>
                  </a:cubicBezTo>
                  <a:lnTo>
                    <a:pt x="282131" y="648938"/>
                  </a:lnTo>
                  <a:lnTo>
                    <a:pt x="369475" y="585502"/>
                  </a:lnTo>
                  <a:lnTo>
                    <a:pt x="435864" y="676847"/>
                  </a:lnTo>
                  <a:cubicBezTo>
                    <a:pt x="459010" y="665798"/>
                    <a:pt x="483870" y="657701"/>
                    <a:pt x="509873" y="652844"/>
                  </a:cubicBezTo>
                  <a:lnTo>
                    <a:pt x="509873" y="539972"/>
                  </a:lnTo>
                  <a:lnTo>
                    <a:pt x="617887" y="539972"/>
                  </a:lnTo>
                  <a:lnTo>
                    <a:pt x="617887" y="652939"/>
                  </a:lnTo>
                  <a:cubicBezTo>
                    <a:pt x="643890" y="657701"/>
                    <a:pt x="668750" y="665798"/>
                    <a:pt x="691896" y="676942"/>
                  </a:cubicBezTo>
                  <a:lnTo>
                    <a:pt x="758285" y="585597"/>
                  </a:lnTo>
                  <a:lnTo>
                    <a:pt x="845630" y="649034"/>
                  </a:lnTo>
                  <a:lnTo>
                    <a:pt x="779145" y="740474"/>
                  </a:lnTo>
                  <a:cubicBezTo>
                    <a:pt x="797052" y="759238"/>
                    <a:pt x="812483" y="780383"/>
                    <a:pt x="824960" y="803338"/>
                  </a:cubicBezTo>
                  <a:lnTo>
                    <a:pt x="932307" y="768477"/>
                  </a:lnTo>
                  <a:lnTo>
                    <a:pt x="965645" y="871252"/>
                  </a:lnTo>
                  <a:lnTo>
                    <a:pt x="858203" y="906113"/>
                  </a:lnTo>
                  <a:cubicBezTo>
                    <a:pt x="859917" y="918877"/>
                    <a:pt x="860870" y="931831"/>
                    <a:pt x="860870" y="944975"/>
                  </a:cubicBezTo>
                  <a:close/>
                  <a:moveTo>
                    <a:pt x="1269016" y="1378363"/>
                  </a:moveTo>
                  <a:cubicBezTo>
                    <a:pt x="1223582" y="1378363"/>
                    <a:pt x="1186625" y="1341501"/>
                    <a:pt x="1186625" y="1296067"/>
                  </a:cubicBezTo>
                  <a:cubicBezTo>
                    <a:pt x="1186625" y="1250633"/>
                    <a:pt x="1223486" y="1213676"/>
                    <a:pt x="1269016" y="1213676"/>
                  </a:cubicBezTo>
                  <a:cubicBezTo>
                    <a:pt x="1314545" y="1213676"/>
                    <a:pt x="1351407" y="1250537"/>
                    <a:pt x="1351407" y="1296067"/>
                  </a:cubicBezTo>
                  <a:cubicBezTo>
                    <a:pt x="1351407" y="1341596"/>
                    <a:pt x="1314450" y="1378363"/>
                    <a:pt x="1269016" y="1378363"/>
                  </a:cubicBezTo>
                  <a:close/>
                  <a:moveTo>
                    <a:pt x="1269016" y="1054322"/>
                  </a:moveTo>
                  <a:cubicBezTo>
                    <a:pt x="1223582" y="1054322"/>
                    <a:pt x="1186625" y="1017461"/>
                    <a:pt x="1186625" y="972026"/>
                  </a:cubicBezTo>
                  <a:cubicBezTo>
                    <a:pt x="1186625" y="926497"/>
                    <a:pt x="1223486" y="889635"/>
                    <a:pt x="1269016" y="889635"/>
                  </a:cubicBezTo>
                  <a:cubicBezTo>
                    <a:pt x="1314545" y="889635"/>
                    <a:pt x="1351407" y="926497"/>
                    <a:pt x="1351407" y="972026"/>
                  </a:cubicBezTo>
                  <a:cubicBezTo>
                    <a:pt x="1351312" y="1017461"/>
                    <a:pt x="1314450" y="1054322"/>
                    <a:pt x="1269016" y="1054322"/>
                  </a:cubicBezTo>
                  <a:close/>
                  <a:moveTo>
                    <a:pt x="1269016" y="730377"/>
                  </a:moveTo>
                  <a:cubicBezTo>
                    <a:pt x="1223582" y="730377"/>
                    <a:pt x="1186625" y="693515"/>
                    <a:pt x="1186625" y="648081"/>
                  </a:cubicBezTo>
                  <a:cubicBezTo>
                    <a:pt x="1186625" y="602552"/>
                    <a:pt x="1223486" y="565690"/>
                    <a:pt x="1269016" y="565690"/>
                  </a:cubicBezTo>
                  <a:cubicBezTo>
                    <a:pt x="1314545" y="565690"/>
                    <a:pt x="1351407" y="602552"/>
                    <a:pt x="1351407" y="648081"/>
                  </a:cubicBezTo>
                  <a:cubicBezTo>
                    <a:pt x="1351312" y="693420"/>
                    <a:pt x="1314450" y="730377"/>
                    <a:pt x="1269016" y="730377"/>
                  </a:cubicBezTo>
                  <a:close/>
                  <a:moveTo>
                    <a:pt x="1269016" y="406337"/>
                  </a:moveTo>
                  <a:cubicBezTo>
                    <a:pt x="1223582" y="406337"/>
                    <a:pt x="1186625" y="369475"/>
                    <a:pt x="1186625" y="324041"/>
                  </a:cubicBezTo>
                  <a:cubicBezTo>
                    <a:pt x="1186625" y="278511"/>
                    <a:pt x="1223486" y="241649"/>
                    <a:pt x="1269016" y="241649"/>
                  </a:cubicBezTo>
                  <a:cubicBezTo>
                    <a:pt x="1314545" y="241649"/>
                    <a:pt x="1351407" y="278511"/>
                    <a:pt x="1351407" y="324041"/>
                  </a:cubicBezTo>
                  <a:cubicBezTo>
                    <a:pt x="1351312" y="369475"/>
                    <a:pt x="1314450" y="406337"/>
                    <a:pt x="1269016" y="406337"/>
                  </a:cubicBezTo>
                  <a:close/>
                  <a:moveTo>
                    <a:pt x="2213991" y="1351312"/>
                  </a:moveTo>
                  <a:lnTo>
                    <a:pt x="1457992" y="1351312"/>
                  </a:lnTo>
                  <a:lnTo>
                    <a:pt x="1457992" y="1240631"/>
                  </a:lnTo>
                  <a:lnTo>
                    <a:pt x="2213991" y="1240631"/>
                  </a:lnTo>
                  <a:lnTo>
                    <a:pt x="2213991" y="1351312"/>
                  </a:lnTo>
                  <a:close/>
                  <a:moveTo>
                    <a:pt x="2213991" y="1027367"/>
                  </a:moveTo>
                  <a:lnTo>
                    <a:pt x="1457992" y="1027367"/>
                  </a:lnTo>
                  <a:lnTo>
                    <a:pt x="1457992" y="916591"/>
                  </a:lnTo>
                  <a:lnTo>
                    <a:pt x="2213991" y="916591"/>
                  </a:lnTo>
                  <a:lnTo>
                    <a:pt x="2213991" y="1027367"/>
                  </a:lnTo>
                  <a:close/>
                  <a:moveTo>
                    <a:pt x="2213991" y="703326"/>
                  </a:moveTo>
                  <a:lnTo>
                    <a:pt x="1457992" y="703326"/>
                  </a:lnTo>
                  <a:lnTo>
                    <a:pt x="1457992" y="592646"/>
                  </a:lnTo>
                  <a:lnTo>
                    <a:pt x="2213991" y="592646"/>
                  </a:lnTo>
                  <a:lnTo>
                    <a:pt x="2213991" y="703326"/>
                  </a:lnTo>
                  <a:close/>
                  <a:moveTo>
                    <a:pt x="2213991" y="379381"/>
                  </a:moveTo>
                  <a:lnTo>
                    <a:pt x="1457992" y="379381"/>
                  </a:lnTo>
                  <a:lnTo>
                    <a:pt x="1457992" y="268605"/>
                  </a:lnTo>
                  <a:lnTo>
                    <a:pt x="2213991" y="268605"/>
                  </a:lnTo>
                  <a:lnTo>
                    <a:pt x="2213991" y="379381"/>
                  </a:lnTo>
                  <a:close/>
                  <a:moveTo>
                    <a:pt x="698849" y="944975"/>
                  </a:moveTo>
                  <a:cubicBezTo>
                    <a:pt x="698849" y="1019556"/>
                    <a:pt x="638365" y="1079945"/>
                    <a:pt x="563880" y="1079945"/>
                  </a:cubicBezTo>
                  <a:cubicBezTo>
                    <a:pt x="489299" y="1079945"/>
                    <a:pt x="428911" y="1019461"/>
                    <a:pt x="428911" y="944975"/>
                  </a:cubicBezTo>
                  <a:cubicBezTo>
                    <a:pt x="428911" y="870395"/>
                    <a:pt x="489395" y="810006"/>
                    <a:pt x="563880" y="810006"/>
                  </a:cubicBezTo>
                  <a:cubicBezTo>
                    <a:pt x="638461" y="810006"/>
                    <a:pt x="698849" y="870395"/>
                    <a:pt x="698849" y="944975"/>
                  </a:cubicBezTo>
                  <a:close/>
                </a:path>
              </a:pathLst>
            </a:custGeom>
            <a:solidFill>
              <a:schemeClr val="tx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89" name="Raute 188">
              <a:extLst>
                <a:ext uri="{FF2B5EF4-FFF2-40B4-BE49-F238E27FC236}">
                  <a16:creationId xmlns:a16="http://schemas.microsoft.com/office/drawing/2014/main" id="{4098F343-AE65-43FF-9548-2B943A90E2DA}"/>
                </a:ext>
              </a:extLst>
            </p:cNvPr>
            <p:cNvSpPr>
              <a:spLocks/>
            </p:cNvSpPr>
            <p:nvPr/>
          </p:nvSpPr>
          <p:spPr>
            <a:xfrm>
              <a:off x="3957033" y="1070915"/>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0" name="Freihandform: Form 189">
              <a:extLst>
                <a:ext uri="{FF2B5EF4-FFF2-40B4-BE49-F238E27FC236}">
                  <a16:creationId xmlns:a16="http://schemas.microsoft.com/office/drawing/2014/main" id="{0D6FD98B-DAF5-4F45-BAA2-83D7A5A0C182}"/>
                </a:ext>
              </a:extLst>
            </p:cNvPr>
            <p:cNvSpPr>
              <a:spLocks/>
            </p:cNvSpPr>
            <p:nvPr/>
          </p:nvSpPr>
          <p:spPr>
            <a:xfrm>
              <a:off x="4187081" y="1403862"/>
              <a:ext cx="411613" cy="205813"/>
            </a:xfrm>
            <a:custGeom>
              <a:avLst/>
              <a:gdLst>
                <a:gd name="connsiteX0" fmla="*/ 448659 w 714811"/>
                <a:gd name="connsiteY0" fmla="*/ 146691 h 357419"/>
                <a:gd name="connsiteX1" fmla="*/ 385857 w 714811"/>
                <a:gd name="connsiteY1" fmla="*/ 309291 h 357419"/>
                <a:gd name="connsiteX2" fmla="*/ 403026 w 714811"/>
                <a:gd name="connsiteY2" fmla="*/ 357419 h 357419"/>
                <a:gd name="connsiteX3" fmla="*/ 250942 w 714811"/>
                <a:gd name="connsiteY3" fmla="*/ 357419 h 357419"/>
                <a:gd name="connsiteX4" fmla="*/ 326997 w 714811"/>
                <a:gd name="connsiteY4" fmla="*/ 281364 h 357419"/>
                <a:gd name="connsiteX5" fmla="*/ 339257 w 714811"/>
                <a:gd name="connsiteY5" fmla="*/ 282357 h 357419"/>
                <a:gd name="connsiteX6" fmla="*/ 448659 w 714811"/>
                <a:gd name="connsiteY6" fmla="*/ 146691 h 357419"/>
                <a:gd name="connsiteX7" fmla="*/ 357419 w 714811"/>
                <a:gd name="connsiteY7" fmla="*/ 0 h 357419"/>
                <a:gd name="connsiteX8" fmla="*/ 342209 w 714811"/>
                <a:gd name="connsiteY8" fmla="*/ 349 h 357419"/>
                <a:gd name="connsiteX9" fmla="*/ 342209 w 714811"/>
                <a:gd name="connsiteY9" fmla="*/ 76458 h 357419"/>
                <a:gd name="connsiteX10" fmla="*/ 562728 w 714811"/>
                <a:gd name="connsiteY10" fmla="*/ 203753 h 357419"/>
                <a:gd name="connsiteX11" fmla="*/ 650615 w 714811"/>
                <a:gd name="connsiteY11" fmla="*/ 152996 h 357419"/>
                <a:gd name="connsiteX12" fmla="*/ 357419 w 714811"/>
                <a:gd name="connsiteY12" fmla="*/ 0 h 357419"/>
                <a:gd name="connsiteX13" fmla="*/ 666979 w 714811"/>
                <a:gd name="connsiteY13" fmla="*/ 178696 h 357419"/>
                <a:gd name="connsiteX14" fmla="*/ 577966 w 714811"/>
                <a:gd name="connsiteY14" fmla="*/ 230097 h 357419"/>
                <a:gd name="connsiteX15" fmla="*/ 608362 w 714811"/>
                <a:gd name="connsiteY15" fmla="*/ 357419 h 357419"/>
                <a:gd name="connsiteX16" fmla="*/ 714812 w 714811"/>
                <a:gd name="connsiteY16" fmla="*/ 357419 h 357419"/>
                <a:gd name="connsiteX17" fmla="*/ 666979 w 714811"/>
                <a:gd name="connsiteY17" fmla="*/ 178696 h 357419"/>
                <a:gd name="connsiteX18" fmla="*/ 311786 w 714811"/>
                <a:gd name="connsiteY18" fmla="*/ 2897 h 357419"/>
                <a:gd name="connsiteX19" fmla="*/ 0 w 714811"/>
                <a:gd name="connsiteY19" fmla="*/ 357419 h 357419"/>
                <a:gd name="connsiteX20" fmla="*/ 45633 w 714811"/>
                <a:gd name="connsiteY20" fmla="*/ 357419 h 357419"/>
                <a:gd name="connsiteX21" fmla="*/ 311786 w 714811"/>
                <a:gd name="connsiteY21" fmla="*/ 76458 h 357419"/>
                <a:gd name="connsiteX22" fmla="*/ 311786 w 714811"/>
                <a:gd name="connsiteY22" fmla="*/ 2897 h 35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14811" h="357419">
                  <a:moveTo>
                    <a:pt x="448659" y="146691"/>
                  </a:moveTo>
                  <a:lnTo>
                    <a:pt x="385857" y="309291"/>
                  </a:lnTo>
                  <a:cubicBezTo>
                    <a:pt x="396587" y="322410"/>
                    <a:pt x="403026" y="339150"/>
                    <a:pt x="403026" y="357419"/>
                  </a:cubicBezTo>
                  <a:lnTo>
                    <a:pt x="250942" y="357419"/>
                  </a:lnTo>
                  <a:cubicBezTo>
                    <a:pt x="250942" y="315435"/>
                    <a:pt x="284986" y="281364"/>
                    <a:pt x="326997" y="281364"/>
                  </a:cubicBezTo>
                  <a:cubicBezTo>
                    <a:pt x="331182" y="281364"/>
                    <a:pt x="335260" y="281713"/>
                    <a:pt x="339257" y="282357"/>
                  </a:cubicBezTo>
                  <a:lnTo>
                    <a:pt x="448659" y="146691"/>
                  </a:lnTo>
                  <a:close/>
                  <a:moveTo>
                    <a:pt x="357419" y="0"/>
                  </a:moveTo>
                  <a:cubicBezTo>
                    <a:pt x="352322" y="0"/>
                    <a:pt x="347252" y="134"/>
                    <a:pt x="342209" y="349"/>
                  </a:cubicBezTo>
                  <a:lnTo>
                    <a:pt x="342209" y="76458"/>
                  </a:lnTo>
                  <a:cubicBezTo>
                    <a:pt x="434575" y="81367"/>
                    <a:pt x="515083" y="130837"/>
                    <a:pt x="562728" y="203753"/>
                  </a:cubicBezTo>
                  <a:lnTo>
                    <a:pt x="650615" y="152996"/>
                  </a:lnTo>
                  <a:cubicBezTo>
                    <a:pt x="586014" y="60522"/>
                    <a:pt x="478786" y="0"/>
                    <a:pt x="357419" y="0"/>
                  </a:cubicBezTo>
                  <a:close/>
                  <a:moveTo>
                    <a:pt x="666979" y="178696"/>
                  </a:moveTo>
                  <a:lnTo>
                    <a:pt x="577966" y="230097"/>
                  </a:lnTo>
                  <a:cubicBezTo>
                    <a:pt x="597416" y="268326"/>
                    <a:pt x="608362" y="311599"/>
                    <a:pt x="608362" y="357419"/>
                  </a:cubicBezTo>
                  <a:lnTo>
                    <a:pt x="714812" y="357419"/>
                  </a:lnTo>
                  <a:cubicBezTo>
                    <a:pt x="714812" y="292310"/>
                    <a:pt x="697401" y="231278"/>
                    <a:pt x="666979" y="178696"/>
                  </a:cubicBezTo>
                  <a:close/>
                  <a:moveTo>
                    <a:pt x="311786" y="2897"/>
                  </a:moveTo>
                  <a:cubicBezTo>
                    <a:pt x="135934" y="25298"/>
                    <a:pt x="0" y="175477"/>
                    <a:pt x="0" y="357419"/>
                  </a:cubicBezTo>
                  <a:lnTo>
                    <a:pt x="45633" y="357419"/>
                  </a:lnTo>
                  <a:cubicBezTo>
                    <a:pt x="45633" y="207133"/>
                    <a:pt x="163459" y="84372"/>
                    <a:pt x="311786" y="76458"/>
                  </a:cubicBezTo>
                  <a:lnTo>
                    <a:pt x="311786" y="2897"/>
                  </a:lnTo>
                  <a:close/>
                </a:path>
              </a:pathLst>
            </a:custGeom>
            <a:solidFill>
              <a:schemeClr val="tx1"/>
            </a:solidFill>
            <a:ln w="268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1" name="Raute 190">
              <a:extLst>
                <a:ext uri="{FF2B5EF4-FFF2-40B4-BE49-F238E27FC236}">
                  <a16:creationId xmlns:a16="http://schemas.microsoft.com/office/drawing/2014/main" id="{5BA48CE8-6B9E-4510-A81B-8AB45497C501}"/>
                </a:ext>
              </a:extLst>
            </p:cNvPr>
            <p:cNvSpPr>
              <a:spLocks/>
            </p:cNvSpPr>
            <p:nvPr/>
          </p:nvSpPr>
          <p:spPr>
            <a:xfrm>
              <a:off x="5823933" y="1648765"/>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2" name="SAGD, Siemens, Plant Operator, Kraftwerk, Aufseher, Job, Fabrik">
              <a:extLst>
                <a:ext uri="{FF2B5EF4-FFF2-40B4-BE49-F238E27FC236}">
                  <a16:creationId xmlns:a16="http://schemas.microsoft.com/office/drawing/2014/main" id="{B23ED12F-7991-4287-BEA7-B667871432C7}"/>
                </a:ext>
              </a:extLst>
            </p:cNvPr>
            <p:cNvSpPr>
              <a:spLocks noChangeAspect="1" noEditPoints="1"/>
            </p:cNvSpPr>
            <p:nvPr/>
          </p:nvSpPr>
          <p:spPr bwMode="auto">
            <a:xfrm>
              <a:off x="6030330" y="1923440"/>
              <a:ext cx="458914" cy="322359"/>
            </a:xfrm>
            <a:custGeom>
              <a:avLst/>
              <a:gdLst>
                <a:gd name="T0" fmla="*/ 1066 w 1066"/>
                <a:gd name="T1" fmla="*/ 749 h 749"/>
                <a:gd name="T2" fmla="*/ 681 w 1066"/>
                <a:gd name="T3" fmla="*/ 749 h 749"/>
                <a:gd name="T4" fmla="*/ 681 w 1066"/>
                <a:gd name="T5" fmla="*/ 544 h 749"/>
                <a:gd name="T6" fmla="*/ 743 w 1066"/>
                <a:gd name="T7" fmla="*/ 469 h 749"/>
                <a:gd name="T8" fmla="*/ 809 w 1066"/>
                <a:gd name="T9" fmla="*/ 465 h 749"/>
                <a:gd name="T10" fmla="*/ 809 w 1066"/>
                <a:gd name="T11" fmla="*/ 465 h 749"/>
                <a:gd name="T12" fmla="*/ 809 w 1066"/>
                <a:gd name="T13" fmla="*/ 465 h 749"/>
                <a:gd name="T14" fmla="*/ 873 w 1066"/>
                <a:gd name="T15" fmla="*/ 529 h 749"/>
                <a:gd name="T16" fmla="*/ 873 w 1066"/>
                <a:gd name="T17" fmla="*/ 529 h 749"/>
                <a:gd name="T18" fmla="*/ 938 w 1066"/>
                <a:gd name="T19" fmla="*/ 465 h 749"/>
                <a:gd name="T20" fmla="*/ 938 w 1066"/>
                <a:gd name="T21" fmla="*/ 465 h 749"/>
                <a:gd name="T22" fmla="*/ 938 w 1066"/>
                <a:gd name="T23" fmla="*/ 465 h 749"/>
                <a:gd name="T24" fmla="*/ 1004 w 1066"/>
                <a:gd name="T25" fmla="*/ 469 h 749"/>
                <a:gd name="T26" fmla="*/ 1066 w 1066"/>
                <a:gd name="T27" fmla="*/ 544 h 749"/>
                <a:gd name="T28" fmla="*/ 1066 w 1066"/>
                <a:gd name="T29" fmla="*/ 749 h 749"/>
                <a:gd name="T30" fmla="*/ 779 w 1066"/>
                <a:gd name="T31" fmla="*/ 312 h 749"/>
                <a:gd name="T32" fmla="*/ 873 w 1066"/>
                <a:gd name="T33" fmla="*/ 420 h 749"/>
                <a:gd name="T34" fmla="*/ 968 w 1066"/>
                <a:gd name="T35" fmla="*/ 312 h 749"/>
                <a:gd name="T36" fmla="*/ 962 w 1066"/>
                <a:gd name="T37" fmla="*/ 272 h 749"/>
                <a:gd name="T38" fmla="*/ 784 w 1066"/>
                <a:gd name="T39" fmla="*/ 272 h 749"/>
                <a:gd name="T40" fmla="*/ 779 w 1066"/>
                <a:gd name="T41" fmla="*/ 312 h 749"/>
                <a:gd name="T42" fmla="*/ 873 w 1066"/>
                <a:gd name="T43" fmla="*/ 114 h 749"/>
                <a:gd name="T44" fmla="*/ 749 w 1066"/>
                <a:gd name="T45" fmla="*/ 238 h 749"/>
                <a:gd name="T46" fmla="*/ 998 w 1066"/>
                <a:gd name="T47" fmla="*/ 238 h 749"/>
                <a:gd name="T48" fmla="*/ 873 w 1066"/>
                <a:gd name="T49" fmla="*/ 114 h 749"/>
                <a:gd name="T50" fmla="*/ 559 w 1066"/>
                <a:gd name="T51" fmla="*/ 332 h 749"/>
                <a:gd name="T52" fmla="*/ 475 w 1066"/>
                <a:gd name="T53" fmla="*/ 306 h 749"/>
                <a:gd name="T54" fmla="*/ 402 w 1066"/>
                <a:gd name="T55" fmla="*/ 320 h 749"/>
                <a:gd name="T56" fmla="*/ 398 w 1066"/>
                <a:gd name="T57" fmla="*/ 247 h 749"/>
                <a:gd name="T58" fmla="*/ 293 w 1066"/>
                <a:gd name="T59" fmla="*/ 216 h 749"/>
                <a:gd name="T60" fmla="*/ 189 w 1066"/>
                <a:gd name="T61" fmla="*/ 247 h 749"/>
                <a:gd name="T62" fmla="*/ 182 w 1066"/>
                <a:gd name="T63" fmla="*/ 442 h 749"/>
                <a:gd name="T64" fmla="*/ 136 w 1066"/>
                <a:gd name="T65" fmla="*/ 442 h 749"/>
                <a:gd name="T66" fmla="*/ 114 w 1066"/>
                <a:gd name="T67" fmla="*/ 0 h 749"/>
                <a:gd name="T68" fmla="*/ 61 w 1066"/>
                <a:gd name="T69" fmla="*/ 0 h 749"/>
                <a:gd name="T70" fmla="*/ 46 w 1066"/>
                <a:gd name="T71" fmla="*/ 442 h 749"/>
                <a:gd name="T72" fmla="*/ 10 w 1066"/>
                <a:gd name="T73" fmla="*/ 442 h 749"/>
                <a:gd name="T74" fmla="*/ 0 w 1066"/>
                <a:gd name="T75" fmla="*/ 578 h 749"/>
                <a:gd name="T76" fmla="*/ 635 w 1066"/>
                <a:gd name="T77" fmla="*/ 578 h 749"/>
                <a:gd name="T78" fmla="*/ 635 w 1066"/>
                <a:gd name="T79" fmla="*/ 442 h 749"/>
                <a:gd name="T80" fmla="*/ 564 w 1066"/>
                <a:gd name="T81" fmla="*/ 442 h 749"/>
                <a:gd name="T82" fmla="*/ 559 w 1066"/>
                <a:gd name="T83" fmla="*/ 332 h 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66" h="749">
                  <a:moveTo>
                    <a:pt x="1066" y="749"/>
                  </a:moveTo>
                  <a:cubicBezTo>
                    <a:pt x="681" y="749"/>
                    <a:pt x="681" y="749"/>
                    <a:pt x="681" y="749"/>
                  </a:cubicBezTo>
                  <a:cubicBezTo>
                    <a:pt x="681" y="668"/>
                    <a:pt x="681" y="544"/>
                    <a:pt x="681" y="544"/>
                  </a:cubicBezTo>
                  <a:cubicBezTo>
                    <a:pt x="681" y="501"/>
                    <a:pt x="706" y="472"/>
                    <a:pt x="743" y="469"/>
                  </a:cubicBezTo>
                  <a:cubicBezTo>
                    <a:pt x="809" y="465"/>
                    <a:pt x="809" y="465"/>
                    <a:pt x="809" y="465"/>
                  </a:cubicBezTo>
                  <a:cubicBezTo>
                    <a:pt x="809" y="465"/>
                    <a:pt x="809" y="465"/>
                    <a:pt x="809" y="465"/>
                  </a:cubicBezTo>
                  <a:cubicBezTo>
                    <a:pt x="809" y="465"/>
                    <a:pt x="809" y="465"/>
                    <a:pt x="809" y="465"/>
                  </a:cubicBezTo>
                  <a:cubicBezTo>
                    <a:pt x="873" y="529"/>
                    <a:pt x="873" y="529"/>
                    <a:pt x="873" y="529"/>
                  </a:cubicBezTo>
                  <a:cubicBezTo>
                    <a:pt x="873" y="529"/>
                    <a:pt x="873" y="529"/>
                    <a:pt x="873" y="529"/>
                  </a:cubicBezTo>
                  <a:cubicBezTo>
                    <a:pt x="938" y="465"/>
                    <a:pt x="938" y="465"/>
                    <a:pt x="938" y="465"/>
                  </a:cubicBezTo>
                  <a:cubicBezTo>
                    <a:pt x="938" y="465"/>
                    <a:pt x="938" y="465"/>
                    <a:pt x="938" y="465"/>
                  </a:cubicBezTo>
                  <a:cubicBezTo>
                    <a:pt x="938" y="465"/>
                    <a:pt x="938" y="465"/>
                    <a:pt x="938" y="465"/>
                  </a:cubicBezTo>
                  <a:cubicBezTo>
                    <a:pt x="1004" y="469"/>
                    <a:pt x="1004" y="469"/>
                    <a:pt x="1004" y="469"/>
                  </a:cubicBezTo>
                  <a:cubicBezTo>
                    <a:pt x="1040" y="472"/>
                    <a:pt x="1065" y="501"/>
                    <a:pt x="1066" y="544"/>
                  </a:cubicBezTo>
                  <a:cubicBezTo>
                    <a:pt x="1066" y="544"/>
                    <a:pt x="1066" y="668"/>
                    <a:pt x="1066" y="749"/>
                  </a:cubicBezTo>
                  <a:close/>
                  <a:moveTo>
                    <a:pt x="779" y="312"/>
                  </a:moveTo>
                  <a:cubicBezTo>
                    <a:pt x="779" y="377"/>
                    <a:pt x="817" y="420"/>
                    <a:pt x="873" y="420"/>
                  </a:cubicBezTo>
                  <a:cubicBezTo>
                    <a:pt x="929" y="420"/>
                    <a:pt x="968" y="377"/>
                    <a:pt x="968" y="312"/>
                  </a:cubicBezTo>
                  <a:cubicBezTo>
                    <a:pt x="968" y="298"/>
                    <a:pt x="966" y="284"/>
                    <a:pt x="962" y="272"/>
                  </a:cubicBezTo>
                  <a:cubicBezTo>
                    <a:pt x="784" y="272"/>
                    <a:pt x="784" y="272"/>
                    <a:pt x="784" y="272"/>
                  </a:cubicBezTo>
                  <a:cubicBezTo>
                    <a:pt x="781" y="284"/>
                    <a:pt x="779" y="298"/>
                    <a:pt x="779" y="312"/>
                  </a:cubicBezTo>
                  <a:close/>
                  <a:moveTo>
                    <a:pt x="873" y="114"/>
                  </a:moveTo>
                  <a:cubicBezTo>
                    <a:pt x="804" y="114"/>
                    <a:pt x="749" y="169"/>
                    <a:pt x="749" y="238"/>
                  </a:cubicBezTo>
                  <a:cubicBezTo>
                    <a:pt x="998" y="238"/>
                    <a:pt x="998" y="238"/>
                    <a:pt x="998" y="238"/>
                  </a:cubicBezTo>
                  <a:cubicBezTo>
                    <a:pt x="998" y="169"/>
                    <a:pt x="942" y="114"/>
                    <a:pt x="873" y="114"/>
                  </a:cubicBezTo>
                  <a:close/>
                  <a:moveTo>
                    <a:pt x="559" y="332"/>
                  </a:moveTo>
                  <a:cubicBezTo>
                    <a:pt x="559" y="318"/>
                    <a:pt x="521" y="306"/>
                    <a:pt x="475" y="306"/>
                  </a:cubicBezTo>
                  <a:cubicBezTo>
                    <a:pt x="443" y="306"/>
                    <a:pt x="416" y="312"/>
                    <a:pt x="402" y="320"/>
                  </a:cubicBezTo>
                  <a:cubicBezTo>
                    <a:pt x="398" y="247"/>
                    <a:pt x="398" y="247"/>
                    <a:pt x="398" y="247"/>
                  </a:cubicBezTo>
                  <a:cubicBezTo>
                    <a:pt x="398" y="230"/>
                    <a:pt x="351" y="216"/>
                    <a:pt x="293" y="216"/>
                  </a:cubicBezTo>
                  <a:cubicBezTo>
                    <a:pt x="236" y="216"/>
                    <a:pt x="189" y="230"/>
                    <a:pt x="189" y="247"/>
                  </a:cubicBezTo>
                  <a:cubicBezTo>
                    <a:pt x="182" y="442"/>
                    <a:pt x="182" y="442"/>
                    <a:pt x="182" y="442"/>
                  </a:cubicBezTo>
                  <a:cubicBezTo>
                    <a:pt x="136" y="442"/>
                    <a:pt x="136" y="442"/>
                    <a:pt x="136" y="442"/>
                  </a:cubicBezTo>
                  <a:cubicBezTo>
                    <a:pt x="114" y="0"/>
                    <a:pt x="114" y="0"/>
                    <a:pt x="114" y="0"/>
                  </a:cubicBezTo>
                  <a:cubicBezTo>
                    <a:pt x="61" y="0"/>
                    <a:pt x="61" y="0"/>
                    <a:pt x="61" y="0"/>
                  </a:cubicBezTo>
                  <a:cubicBezTo>
                    <a:pt x="46" y="442"/>
                    <a:pt x="46" y="442"/>
                    <a:pt x="46" y="442"/>
                  </a:cubicBezTo>
                  <a:cubicBezTo>
                    <a:pt x="10" y="442"/>
                    <a:pt x="10" y="442"/>
                    <a:pt x="10" y="442"/>
                  </a:cubicBezTo>
                  <a:cubicBezTo>
                    <a:pt x="0" y="578"/>
                    <a:pt x="0" y="578"/>
                    <a:pt x="0" y="578"/>
                  </a:cubicBezTo>
                  <a:cubicBezTo>
                    <a:pt x="635" y="578"/>
                    <a:pt x="635" y="578"/>
                    <a:pt x="635" y="578"/>
                  </a:cubicBezTo>
                  <a:cubicBezTo>
                    <a:pt x="635" y="442"/>
                    <a:pt x="635" y="442"/>
                    <a:pt x="635" y="442"/>
                  </a:cubicBezTo>
                  <a:cubicBezTo>
                    <a:pt x="564" y="442"/>
                    <a:pt x="564" y="442"/>
                    <a:pt x="564" y="442"/>
                  </a:cubicBezTo>
                  <a:lnTo>
                    <a:pt x="559" y="33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193" name="Gerader Verbinder 192">
              <a:extLst>
                <a:ext uri="{FF2B5EF4-FFF2-40B4-BE49-F238E27FC236}">
                  <a16:creationId xmlns:a16="http://schemas.microsoft.com/office/drawing/2014/main" id="{6529E8D4-CA96-4A54-BF72-AB0AAC126FED}"/>
                </a:ext>
              </a:extLst>
            </p:cNvPr>
            <p:cNvCxnSpPr>
              <a:cxnSpLocks/>
            </p:cNvCxnSpPr>
            <p:nvPr/>
          </p:nvCxnSpPr>
          <p:spPr>
            <a:xfrm>
              <a:off x="1119581" y="2035087"/>
              <a:ext cx="230588" cy="219957"/>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194" name="Ellipse 193">
              <a:extLst>
                <a:ext uri="{FF2B5EF4-FFF2-40B4-BE49-F238E27FC236}">
                  <a16:creationId xmlns:a16="http://schemas.microsoft.com/office/drawing/2014/main" id="{16483727-427C-4F82-BA66-5FF83B753237}"/>
                </a:ext>
              </a:extLst>
            </p:cNvPr>
            <p:cNvSpPr/>
            <p:nvPr/>
          </p:nvSpPr>
          <p:spPr>
            <a:xfrm>
              <a:off x="2990942" y="1300757"/>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5" name="Ellipse 194">
              <a:extLst>
                <a:ext uri="{FF2B5EF4-FFF2-40B4-BE49-F238E27FC236}">
                  <a16:creationId xmlns:a16="http://schemas.microsoft.com/office/drawing/2014/main" id="{19F05B00-2402-443E-AD8A-1A5EDA3DFCB2}"/>
                </a:ext>
              </a:extLst>
            </p:cNvPr>
            <p:cNvSpPr/>
            <p:nvPr/>
          </p:nvSpPr>
          <p:spPr>
            <a:xfrm>
              <a:off x="1416142" y="4037607"/>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6" name="Ellipse 195">
              <a:extLst>
                <a:ext uri="{FF2B5EF4-FFF2-40B4-BE49-F238E27FC236}">
                  <a16:creationId xmlns:a16="http://schemas.microsoft.com/office/drawing/2014/main" id="{A6374A4E-94E0-4194-B4DA-16BB8475A6AD}"/>
                </a:ext>
              </a:extLst>
            </p:cNvPr>
            <p:cNvSpPr/>
            <p:nvPr/>
          </p:nvSpPr>
          <p:spPr>
            <a:xfrm>
              <a:off x="4210142" y="2367375"/>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7" name="Ellipse 196">
              <a:extLst>
                <a:ext uri="{FF2B5EF4-FFF2-40B4-BE49-F238E27FC236}">
                  <a16:creationId xmlns:a16="http://schemas.microsoft.com/office/drawing/2014/main" id="{E4B7507F-2FCA-41B7-9D56-411D62C532CF}"/>
                </a:ext>
              </a:extLst>
            </p:cNvPr>
            <p:cNvSpPr/>
            <p:nvPr/>
          </p:nvSpPr>
          <p:spPr>
            <a:xfrm>
              <a:off x="6458042" y="3332757"/>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8" name="Ellipse 197">
              <a:extLst>
                <a:ext uri="{FF2B5EF4-FFF2-40B4-BE49-F238E27FC236}">
                  <a16:creationId xmlns:a16="http://schemas.microsoft.com/office/drawing/2014/main" id="{35B0B6A3-2272-4C90-8C1B-A7F36EABD072}"/>
                </a:ext>
              </a:extLst>
            </p:cNvPr>
            <p:cNvSpPr/>
            <p:nvPr/>
          </p:nvSpPr>
          <p:spPr>
            <a:xfrm>
              <a:off x="5365842" y="1332507"/>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199" name="Ellipse 198">
              <a:extLst>
                <a:ext uri="{FF2B5EF4-FFF2-40B4-BE49-F238E27FC236}">
                  <a16:creationId xmlns:a16="http://schemas.microsoft.com/office/drawing/2014/main" id="{B4678E1D-7788-4AFD-9E1B-9A69E5629385}"/>
                </a:ext>
              </a:extLst>
            </p:cNvPr>
            <p:cNvSpPr/>
            <p:nvPr/>
          </p:nvSpPr>
          <p:spPr>
            <a:xfrm>
              <a:off x="2635342" y="1776825"/>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00" name="Ellipse 199">
              <a:extLst>
                <a:ext uri="{FF2B5EF4-FFF2-40B4-BE49-F238E27FC236}">
                  <a16:creationId xmlns:a16="http://schemas.microsoft.com/office/drawing/2014/main" id="{D2D2312C-B084-4A95-8EED-5B46B3B4E997}"/>
                </a:ext>
              </a:extLst>
            </p:cNvPr>
            <p:cNvSpPr/>
            <p:nvPr/>
          </p:nvSpPr>
          <p:spPr>
            <a:xfrm>
              <a:off x="2976337" y="675417"/>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01" name="Gerader Verbinder 200">
              <a:extLst>
                <a:ext uri="{FF2B5EF4-FFF2-40B4-BE49-F238E27FC236}">
                  <a16:creationId xmlns:a16="http://schemas.microsoft.com/office/drawing/2014/main" id="{1094E265-E530-49AE-A466-1FD6002F99E8}"/>
                </a:ext>
              </a:extLst>
            </p:cNvPr>
            <p:cNvCxnSpPr>
              <a:cxnSpLocks/>
            </p:cNvCxnSpPr>
            <p:nvPr/>
          </p:nvCxnSpPr>
          <p:spPr>
            <a:xfrm>
              <a:off x="2659380" y="-48479"/>
              <a:ext cx="337820" cy="759679"/>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2" name="Gerader Verbinder 201">
              <a:extLst>
                <a:ext uri="{FF2B5EF4-FFF2-40B4-BE49-F238E27FC236}">
                  <a16:creationId xmlns:a16="http://schemas.microsoft.com/office/drawing/2014/main" id="{B6432F57-D1E3-40BE-88FC-6CC9DA32AEEF}"/>
                </a:ext>
              </a:extLst>
            </p:cNvPr>
            <p:cNvCxnSpPr>
              <a:cxnSpLocks/>
            </p:cNvCxnSpPr>
            <p:nvPr/>
          </p:nvCxnSpPr>
          <p:spPr>
            <a:xfrm flipH="1">
              <a:off x="800100" y="2262188"/>
              <a:ext cx="552451" cy="1033462"/>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3" name="Gerader Verbinder 202">
              <a:extLst>
                <a:ext uri="{FF2B5EF4-FFF2-40B4-BE49-F238E27FC236}">
                  <a16:creationId xmlns:a16="http://schemas.microsoft.com/office/drawing/2014/main" id="{08B07C81-0BBB-402A-A0EF-8FB59CD941CB}"/>
                </a:ext>
              </a:extLst>
            </p:cNvPr>
            <p:cNvCxnSpPr>
              <a:cxnSpLocks/>
            </p:cNvCxnSpPr>
            <p:nvPr/>
          </p:nvCxnSpPr>
          <p:spPr>
            <a:xfrm>
              <a:off x="1347788" y="2252663"/>
              <a:ext cx="716593" cy="712134"/>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4" name="Gerader Verbinder 203">
              <a:extLst>
                <a:ext uri="{FF2B5EF4-FFF2-40B4-BE49-F238E27FC236}">
                  <a16:creationId xmlns:a16="http://schemas.microsoft.com/office/drawing/2014/main" id="{5D835196-80CB-4E1F-BCAA-4556813C776F}"/>
                </a:ext>
              </a:extLst>
            </p:cNvPr>
            <p:cNvCxnSpPr>
              <a:cxnSpLocks/>
            </p:cNvCxnSpPr>
            <p:nvPr/>
          </p:nvCxnSpPr>
          <p:spPr>
            <a:xfrm flipH="1">
              <a:off x="1054894" y="4090988"/>
              <a:ext cx="421482" cy="207168"/>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5" name="Gerader Verbinder 204">
              <a:extLst>
                <a:ext uri="{FF2B5EF4-FFF2-40B4-BE49-F238E27FC236}">
                  <a16:creationId xmlns:a16="http://schemas.microsoft.com/office/drawing/2014/main" id="{F5FA6D0B-96FB-47A4-B12A-F2A96EEE17AB}"/>
                </a:ext>
              </a:extLst>
            </p:cNvPr>
            <p:cNvCxnSpPr>
              <a:cxnSpLocks/>
            </p:cNvCxnSpPr>
            <p:nvPr/>
          </p:nvCxnSpPr>
          <p:spPr>
            <a:xfrm>
              <a:off x="804863" y="3290888"/>
              <a:ext cx="661987" cy="814387"/>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6" name="Gerader Verbinder 205">
              <a:extLst>
                <a:ext uri="{FF2B5EF4-FFF2-40B4-BE49-F238E27FC236}">
                  <a16:creationId xmlns:a16="http://schemas.microsoft.com/office/drawing/2014/main" id="{32A2A617-D6C7-444E-9152-CAE1DB8070D2}"/>
                </a:ext>
              </a:extLst>
            </p:cNvPr>
            <p:cNvCxnSpPr>
              <a:cxnSpLocks/>
            </p:cNvCxnSpPr>
            <p:nvPr/>
          </p:nvCxnSpPr>
          <p:spPr>
            <a:xfrm flipV="1">
              <a:off x="1619250" y="3398044"/>
              <a:ext cx="440531" cy="11430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07" name="Ellipse 206">
              <a:extLst>
                <a:ext uri="{FF2B5EF4-FFF2-40B4-BE49-F238E27FC236}">
                  <a16:creationId xmlns:a16="http://schemas.microsoft.com/office/drawing/2014/main" id="{1EA3B5F1-9273-476B-8CBB-BCB3FB2EED25}"/>
                </a:ext>
              </a:extLst>
            </p:cNvPr>
            <p:cNvSpPr/>
            <p:nvPr/>
          </p:nvSpPr>
          <p:spPr>
            <a:xfrm>
              <a:off x="1582830" y="3481800"/>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08" name="Gerader Verbinder 207">
              <a:extLst>
                <a:ext uri="{FF2B5EF4-FFF2-40B4-BE49-F238E27FC236}">
                  <a16:creationId xmlns:a16="http://schemas.microsoft.com/office/drawing/2014/main" id="{3BC131C6-3130-44EE-9CCA-F04AFE74FED7}"/>
                </a:ext>
              </a:extLst>
            </p:cNvPr>
            <p:cNvCxnSpPr>
              <a:cxnSpLocks/>
            </p:cNvCxnSpPr>
            <p:nvPr/>
          </p:nvCxnSpPr>
          <p:spPr>
            <a:xfrm flipH="1">
              <a:off x="1476376" y="3514725"/>
              <a:ext cx="138112" cy="581025"/>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09" name="Gerader Verbinder 208">
              <a:extLst>
                <a:ext uri="{FF2B5EF4-FFF2-40B4-BE49-F238E27FC236}">
                  <a16:creationId xmlns:a16="http://schemas.microsoft.com/office/drawing/2014/main" id="{1BD0FF6C-FB52-41E3-9245-8965D0D87908}"/>
                </a:ext>
              </a:extLst>
            </p:cNvPr>
            <p:cNvCxnSpPr>
              <a:cxnSpLocks/>
            </p:cNvCxnSpPr>
            <p:nvPr/>
          </p:nvCxnSpPr>
          <p:spPr>
            <a:xfrm>
              <a:off x="1347788" y="2252663"/>
              <a:ext cx="1004887" cy="11430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0" name="Gerader Verbinder 209">
              <a:extLst>
                <a:ext uri="{FF2B5EF4-FFF2-40B4-BE49-F238E27FC236}">
                  <a16:creationId xmlns:a16="http://schemas.microsoft.com/office/drawing/2014/main" id="{0FB88D51-866A-4A68-8372-FACC2CEF3C7A}"/>
                </a:ext>
              </a:extLst>
            </p:cNvPr>
            <p:cNvCxnSpPr>
              <a:cxnSpLocks/>
            </p:cNvCxnSpPr>
            <p:nvPr/>
          </p:nvCxnSpPr>
          <p:spPr>
            <a:xfrm flipV="1">
              <a:off x="2352675" y="1819275"/>
              <a:ext cx="309563" cy="547688"/>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1" name="Gerader Verbinder 210">
              <a:extLst>
                <a:ext uri="{FF2B5EF4-FFF2-40B4-BE49-F238E27FC236}">
                  <a16:creationId xmlns:a16="http://schemas.microsoft.com/office/drawing/2014/main" id="{D51F3843-9CBA-451C-8F1C-79A83C9EADEE}"/>
                </a:ext>
              </a:extLst>
            </p:cNvPr>
            <p:cNvCxnSpPr>
              <a:cxnSpLocks/>
            </p:cNvCxnSpPr>
            <p:nvPr/>
          </p:nvCxnSpPr>
          <p:spPr>
            <a:xfrm flipH="1">
              <a:off x="3852863" y="2400300"/>
              <a:ext cx="395288" cy="1100138"/>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12" name="Ellipse 211">
              <a:extLst>
                <a:ext uri="{FF2B5EF4-FFF2-40B4-BE49-F238E27FC236}">
                  <a16:creationId xmlns:a16="http://schemas.microsoft.com/office/drawing/2014/main" id="{0ADBBDA5-858A-4F9C-969A-3BA55A81E9B0}"/>
                </a:ext>
              </a:extLst>
            </p:cNvPr>
            <p:cNvSpPr/>
            <p:nvPr/>
          </p:nvSpPr>
          <p:spPr>
            <a:xfrm>
              <a:off x="3784692" y="3451820"/>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13" name="Gerader Verbinder 212">
              <a:extLst>
                <a:ext uri="{FF2B5EF4-FFF2-40B4-BE49-F238E27FC236}">
                  <a16:creationId xmlns:a16="http://schemas.microsoft.com/office/drawing/2014/main" id="{01F52CF4-F323-4FF7-892C-3575D66A7EE4}"/>
                </a:ext>
              </a:extLst>
            </p:cNvPr>
            <p:cNvCxnSpPr>
              <a:cxnSpLocks/>
            </p:cNvCxnSpPr>
            <p:nvPr/>
          </p:nvCxnSpPr>
          <p:spPr>
            <a:xfrm>
              <a:off x="2543175" y="3355181"/>
              <a:ext cx="1300163" cy="159544"/>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4" name="Gerader Verbinder 213">
              <a:extLst>
                <a:ext uri="{FF2B5EF4-FFF2-40B4-BE49-F238E27FC236}">
                  <a16:creationId xmlns:a16="http://schemas.microsoft.com/office/drawing/2014/main" id="{7D754C52-40F3-4BFA-8227-A6DABA4CEF4B}"/>
                </a:ext>
              </a:extLst>
            </p:cNvPr>
            <p:cNvCxnSpPr>
              <a:cxnSpLocks/>
            </p:cNvCxnSpPr>
            <p:nvPr/>
          </p:nvCxnSpPr>
          <p:spPr>
            <a:xfrm>
              <a:off x="4241800" y="2393951"/>
              <a:ext cx="546100" cy="336549"/>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5" name="Gerader Verbinder 214">
              <a:extLst>
                <a:ext uri="{FF2B5EF4-FFF2-40B4-BE49-F238E27FC236}">
                  <a16:creationId xmlns:a16="http://schemas.microsoft.com/office/drawing/2014/main" id="{5233176C-4FAC-4ABC-8A19-183A8C9F3AAD}"/>
                </a:ext>
              </a:extLst>
            </p:cNvPr>
            <p:cNvCxnSpPr>
              <a:cxnSpLocks/>
            </p:cNvCxnSpPr>
            <p:nvPr/>
          </p:nvCxnSpPr>
          <p:spPr>
            <a:xfrm flipV="1">
              <a:off x="2660650" y="1352550"/>
              <a:ext cx="400050" cy="457201"/>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6" name="Gerader Verbinder 215">
              <a:extLst>
                <a:ext uri="{FF2B5EF4-FFF2-40B4-BE49-F238E27FC236}">
                  <a16:creationId xmlns:a16="http://schemas.microsoft.com/office/drawing/2014/main" id="{CD6A18D2-94BA-4E54-AB49-EF3FCD20ED5F}"/>
                </a:ext>
              </a:extLst>
            </p:cNvPr>
            <p:cNvCxnSpPr>
              <a:cxnSpLocks/>
            </p:cNvCxnSpPr>
            <p:nvPr/>
          </p:nvCxnSpPr>
          <p:spPr>
            <a:xfrm flipH="1" flipV="1">
              <a:off x="2368550" y="2349500"/>
              <a:ext cx="1873250" cy="38101"/>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7" name="Gerader Verbinder 216">
              <a:extLst>
                <a:ext uri="{FF2B5EF4-FFF2-40B4-BE49-F238E27FC236}">
                  <a16:creationId xmlns:a16="http://schemas.microsoft.com/office/drawing/2014/main" id="{EC85AA1E-8775-4B10-909A-16F3D8E7CE6E}"/>
                </a:ext>
              </a:extLst>
            </p:cNvPr>
            <p:cNvCxnSpPr>
              <a:cxnSpLocks/>
            </p:cNvCxnSpPr>
            <p:nvPr/>
          </p:nvCxnSpPr>
          <p:spPr>
            <a:xfrm flipH="1">
              <a:off x="4241800" y="1943100"/>
              <a:ext cx="152400" cy="45085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18" name="Gerader Verbinder 217">
              <a:extLst>
                <a:ext uri="{FF2B5EF4-FFF2-40B4-BE49-F238E27FC236}">
                  <a16:creationId xmlns:a16="http://schemas.microsoft.com/office/drawing/2014/main" id="{46E7884C-E484-4FC7-9EA9-D152D1C84B64}"/>
                </a:ext>
              </a:extLst>
            </p:cNvPr>
            <p:cNvCxnSpPr>
              <a:cxnSpLocks/>
              <a:endCxn id="219" idx="0"/>
            </p:cNvCxnSpPr>
            <p:nvPr/>
          </p:nvCxnSpPr>
          <p:spPr>
            <a:xfrm flipH="1">
              <a:off x="5021538" y="1377950"/>
              <a:ext cx="395012" cy="1109015"/>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19" name="Raute 218">
              <a:extLst>
                <a:ext uri="{FF2B5EF4-FFF2-40B4-BE49-F238E27FC236}">
                  <a16:creationId xmlns:a16="http://schemas.microsoft.com/office/drawing/2014/main" id="{F731CD69-7BF9-431F-AF19-91F88580111A}"/>
                </a:ext>
              </a:extLst>
            </p:cNvPr>
            <p:cNvSpPr>
              <a:spLocks/>
            </p:cNvSpPr>
            <p:nvPr/>
          </p:nvSpPr>
          <p:spPr>
            <a:xfrm>
              <a:off x="4585683" y="2486965"/>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20" name="Freihandform: Form 219">
              <a:extLst>
                <a:ext uri="{FF2B5EF4-FFF2-40B4-BE49-F238E27FC236}">
                  <a16:creationId xmlns:a16="http://schemas.microsoft.com/office/drawing/2014/main" id="{37BDE9B5-AFB9-4147-9DD7-E12E781D1909}"/>
                </a:ext>
              </a:extLst>
            </p:cNvPr>
            <p:cNvSpPr>
              <a:spLocks/>
            </p:cNvSpPr>
            <p:nvPr/>
          </p:nvSpPr>
          <p:spPr>
            <a:xfrm>
              <a:off x="4787416" y="2710273"/>
              <a:ext cx="468242" cy="338744"/>
            </a:xfrm>
            <a:custGeom>
              <a:avLst/>
              <a:gdLst>
                <a:gd name="connsiteX0" fmla="*/ 219065 w 714815"/>
                <a:gd name="connsiteY0" fmla="*/ 243360 h 517125"/>
                <a:gd name="connsiteX1" fmla="*/ 471805 w 714815"/>
                <a:gd name="connsiteY1" fmla="*/ 243360 h 517125"/>
                <a:gd name="connsiteX2" fmla="*/ 547135 w 714815"/>
                <a:gd name="connsiteY2" fmla="*/ 171275 h 517125"/>
                <a:gd name="connsiteX3" fmla="*/ 476446 w 714815"/>
                <a:gd name="connsiteY3" fmla="*/ 88915 h 517125"/>
                <a:gd name="connsiteX4" fmla="*/ 380994 w 714815"/>
                <a:gd name="connsiteY4" fmla="*/ 10 h 517125"/>
                <a:gd name="connsiteX5" fmla="*/ 285542 w 714815"/>
                <a:gd name="connsiteY5" fmla="*/ 65522 h 517125"/>
                <a:gd name="connsiteX6" fmla="*/ 212546 w 714815"/>
                <a:gd name="connsiteY6" fmla="*/ 134790 h 517125"/>
                <a:gd name="connsiteX7" fmla="*/ 167610 w 714815"/>
                <a:gd name="connsiteY7" fmla="*/ 184393 h 517125"/>
                <a:gd name="connsiteX8" fmla="*/ 219065 w 714815"/>
                <a:gd name="connsiteY8" fmla="*/ 243360 h 517125"/>
                <a:gd name="connsiteX9" fmla="*/ 281358 w 714815"/>
                <a:gd name="connsiteY9" fmla="*/ 114079 h 517125"/>
                <a:gd name="connsiteX10" fmla="*/ 322833 w 714815"/>
                <a:gd name="connsiteY10" fmla="*/ 144501 h 517125"/>
                <a:gd name="connsiteX11" fmla="*/ 322833 w 714815"/>
                <a:gd name="connsiteY11" fmla="*/ 114079 h 517125"/>
                <a:gd name="connsiteX12" fmla="*/ 364308 w 714815"/>
                <a:gd name="connsiteY12" fmla="*/ 144501 h 517125"/>
                <a:gd name="connsiteX13" fmla="*/ 364308 w 714815"/>
                <a:gd name="connsiteY13" fmla="*/ 114079 h 517125"/>
                <a:gd name="connsiteX14" fmla="*/ 405782 w 714815"/>
                <a:gd name="connsiteY14" fmla="*/ 144501 h 517125"/>
                <a:gd name="connsiteX15" fmla="*/ 405782 w 714815"/>
                <a:gd name="connsiteY15" fmla="*/ 76065 h 517125"/>
                <a:gd name="connsiteX16" fmla="*/ 433441 w 714815"/>
                <a:gd name="connsiteY16" fmla="*/ 76065 h 517125"/>
                <a:gd name="connsiteX17" fmla="*/ 433441 w 714815"/>
                <a:gd name="connsiteY17" fmla="*/ 197726 h 517125"/>
                <a:gd name="connsiteX18" fmla="*/ 281358 w 714815"/>
                <a:gd name="connsiteY18" fmla="*/ 197726 h 517125"/>
                <a:gd name="connsiteX19" fmla="*/ 281358 w 714815"/>
                <a:gd name="connsiteY19" fmla="*/ 114079 h 517125"/>
                <a:gd name="connsiteX20" fmla="*/ 382121 w 714815"/>
                <a:gd name="connsiteY20" fmla="*/ 296290 h 517125"/>
                <a:gd name="connsiteX21" fmla="*/ 357708 w 714815"/>
                <a:gd name="connsiteY21" fmla="*/ 321320 h 517125"/>
                <a:gd name="connsiteX22" fmla="*/ 332678 w 714815"/>
                <a:gd name="connsiteY22" fmla="*/ 296907 h 517125"/>
                <a:gd name="connsiteX23" fmla="*/ 357091 w 714815"/>
                <a:gd name="connsiteY23" fmla="*/ 271877 h 517125"/>
                <a:gd name="connsiteX24" fmla="*/ 382121 w 714815"/>
                <a:gd name="connsiteY24" fmla="*/ 296290 h 517125"/>
                <a:gd name="connsiteX25" fmla="*/ 382121 w 714815"/>
                <a:gd name="connsiteY25" fmla="*/ 372318 h 517125"/>
                <a:gd name="connsiteX26" fmla="*/ 357708 w 714815"/>
                <a:gd name="connsiteY26" fmla="*/ 397348 h 517125"/>
                <a:gd name="connsiteX27" fmla="*/ 332678 w 714815"/>
                <a:gd name="connsiteY27" fmla="*/ 372935 h 517125"/>
                <a:gd name="connsiteX28" fmla="*/ 357091 w 714815"/>
                <a:gd name="connsiteY28" fmla="*/ 347905 h 517125"/>
                <a:gd name="connsiteX29" fmla="*/ 382121 w 714815"/>
                <a:gd name="connsiteY29" fmla="*/ 372318 h 517125"/>
                <a:gd name="connsiteX30" fmla="*/ 402724 w 714815"/>
                <a:gd name="connsiteY30" fmla="*/ 470962 h 517125"/>
                <a:gd name="connsiteX31" fmla="*/ 357708 w 714815"/>
                <a:gd name="connsiteY31" fmla="*/ 517105 h 517125"/>
                <a:gd name="connsiteX32" fmla="*/ 311565 w 714815"/>
                <a:gd name="connsiteY32" fmla="*/ 472116 h 517125"/>
                <a:gd name="connsiteX33" fmla="*/ 356554 w 714815"/>
                <a:gd name="connsiteY33" fmla="*/ 425973 h 517125"/>
                <a:gd name="connsiteX34" fmla="*/ 402724 w 714815"/>
                <a:gd name="connsiteY34" fmla="*/ 470962 h 517125"/>
                <a:gd name="connsiteX35" fmla="*/ 184645 w 714815"/>
                <a:gd name="connsiteY35" fmla="*/ 332399 h 517125"/>
                <a:gd name="connsiteX36" fmla="*/ 185075 w 714815"/>
                <a:gd name="connsiteY36" fmla="*/ 367355 h 517125"/>
                <a:gd name="connsiteX37" fmla="*/ 150119 w 714815"/>
                <a:gd name="connsiteY37" fmla="*/ 367784 h 517125"/>
                <a:gd name="connsiteX38" fmla="*/ 149690 w 714815"/>
                <a:gd name="connsiteY38" fmla="*/ 332828 h 517125"/>
                <a:gd name="connsiteX39" fmla="*/ 184645 w 714815"/>
                <a:gd name="connsiteY39" fmla="*/ 332399 h 517125"/>
                <a:gd name="connsiteX40" fmla="*/ 238058 w 714815"/>
                <a:gd name="connsiteY40" fmla="*/ 278879 h 517125"/>
                <a:gd name="connsiteX41" fmla="*/ 238488 w 714815"/>
                <a:gd name="connsiteY41" fmla="*/ 313835 h 517125"/>
                <a:gd name="connsiteX42" fmla="*/ 203532 w 714815"/>
                <a:gd name="connsiteY42" fmla="*/ 314264 h 517125"/>
                <a:gd name="connsiteX43" fmla="*/ 203102 w 714815"/>
                <a:gd name="connsiteY43" fmla="*/ 279308 h 517125"/>
                <a:gd name="connsiteX44" fmla="*/ 238058 w 714815"/>
                <a:gd name="connsiteY44" fmla="*/ 278879 h 517125"/>
                <a:gd name="connsiteX45" fmla="*/ 131206 w 714815"/>
                <a:gd name="connsiteY45" fmla="*/ 385839 h 517125"/>
                <a:gd name="connsiteX46" fmla="*/ 131635 w 714815"/>
                <a:gd name="connsiteY46" fmla="*/ 420795 h 517125"/>
                <a:gd name="connsiteX47" fmla="*/ 96679 w 714815"/>
                <a:gd name="connsiteY47" fmla="*/ 421224 h 517125"/>
                <a:gd name="connsiteX48" fmla="*/ 96250 w 714815"/>
                <a:gd name="connsiteY48" fmla="*/ 386268 h 517125"/>
                <a:gd name="connsiteX49" fmla="*/ 131206 w 714815"/>
                <a:gd name="connsiteY49" fmla="*/ 385839 h 517125"/>
                <a:gd name="connsiteX50" fmla="*/ 77390 w 714815"/>
                <a:gd name="connsiteY50" fmla="*/ 438903 h 517125"/>
                <a:gd name="connsiteX51" fmla="*/ 78195 w 714815"/>
                <a:gd name="connsiteY51" fmla="*/ 503369 h 517125"/>
                <a:gd name="connsiteX52" fmla="*/ 13756 w 714815"/>
                <a:gd name="connsiteY52" fmla="*/ 504174 h 517125"/>
                <a:gd name="connsiteX53" fmla="*/ 12951 w 714815"/>
                <a:gd name="connsiteY53" fmla="*/ 439735 h 517125"/>
                <a:gd name="connsiteX54" fmla="*/ 77390 w 714815"/>
                <a:gd name="connsiteY54" fmla="*/ 438903 h 517125"/>
                <a:gd name="connsiteX55" fmla="*/ 565109 w 714815"/>
                <a:gd name="connsiteY55" fmla="*/ 332828 h 517125"/>
                <a:gd name="connsiteX56" fmla="*/ 564680 w 714815"/>
                <a:gd name="connsiteY56" fmla="*/ 367784 h 517125"/>
                <a:gd name="connsiteX57" fmla="*/ 529724 w 714815"/>
                <a:gd name="connsiteY57" fmla="*/ 367355 h 517125"/>
                <a:gd name="connsiteX58" fmla="*/ 530154 w 714815"/>
                <a:gd name="connsiteY58" fmla="*/ 332399 h 517125"/>
                <a:gd name="connsiteX59" fmla="*/ 565109 w 714815"/>
                <a:gd name="connsiteY59" fmla="*/ 332828 h 517125"/>
                <a:gd name="connsiteX60" fmla="*/ 511669 w 714815"/>
                <a:gd name="connsiteY60" fmla="*/ 279335 h 517125"/>
                <a:gd name="connsiteX61" fmla="*/ 511240 w 714815"/>
                <a:gd name="connsiteY61" fmla="*/ 314291 h 517125"/>
                <a:gd name="connsiteX62" fmla="*/ 476284 w 714815"/>
                <a:gd name="connsiteY62" fmla="*/ 313862 h 517125"/>
                <a:gd name="connsiteX63" fmla="*/ 476713 w 714815"/>
                <a:gd name="connsiteY63" fmla="*/ 278906 h 517125"/>
                <a:gd name="connsiteX64" fmla="*/ 511669 w 714815"/>
                <a:gd name="connsiteY64" fmla="*/ 279335 h 517125"/>
                <a:gd name="connsiteX65" fmla="*/ 618120 w 714815"/>
                <a:gd name="connsiteY65" fmla="*/ 421224 h 517125"/>
                <a:gd name="connsiteX66" fmla="*/ 583164 w 714815"/>
                <a:gd name="connsiteY66" fmla="*/ 420795 h 517125"/>
                <a:gd name="connsiteX67" fmla="*/ 583593 w 714815"/>
                <a:gd name="connsiteY67" fmla="*/ 385839 h 517125"/>
                <a:gd name="connsiteX68" fmla="*/ 618549 w 714815"/>
                <a:gd name="connsiteY68" fmla="*/ 386268 h 517125"/>
                <a:gd name="connsiteX69" fmla="*/ 618120 w 714815"/>
                <a:gd name="connsiteY69" fmla="*/ 421224 h 517125"/>
                <a:gd name="connsiteX70" fmla="*/ 701070 w 714815"/>
                <a:gd name="connsiteY70" fmla="*/ 504174 h 517125"/>
                <a:gd name="connsiteX71" fmla="*/ 636631 w 714815"/>
                <a:gd name="connsiteY71" fmla="*/ 503369 h 517125"/>
                <a:gd name="connsiteX72" fmla="*/ 637436 w 714815"/>
                <a:gd name="connsiteY72" fmla="*/ 438903 h 517125"/>
                <a:gd name="connsiteX73" fmla="*/ 701875 w 714815"/>
                <a:gd name="connsiteY73" fmla="*/ 439708 h 517125"/>
                <a:gd name="connsiteX74" fmla="*/ 701070 w 714815"/>
                <a:gd name="connsiteY74" fmla="*/ 504174 h 51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14815" h="517125">
                  <a:moveTo>
                    <a:pt x="219065" y="243360"/>
                  </a:moveTo>
                  <a:lnTo>
                    <a:pt x="471805" y="243360"/>
                  </a:lnTo>
                  <a:cubicBezTo>
                    <a:pt x="547242" y="240999"/>
                    <a:pt x="547135" y="171275"/>
                    <a:pt x="547135" y="171275"/>
                  </a:cubicBezTo>
                  <a:cubicBezTo>
                    <a:pt x="549952" y="92188"/>
                    <a:pt x="476446" y="88915"/>
                    <a:pt x="476446" y="88915"/>
                  </a:cubicBezTo>
                  <a:cubicBezTo>
                    <a:pt x="459625" y="-2834"/>
                    <a:pt x="380994" y="10"/>
                    <a:pt x="380994" y="10"/>
                  </a:cubicBezTo>
                  <a:cubicBezTo>
                    <a:pt x="307058" y="10"/>
                    <a:pt x="285542" y="65522"/>
                    <a:pt x="285542" y="65522"/>
                  </a:cubicBezTo>
                  <a:cubicBezTo>
                    <a:pt x="209273" y="65039"/>
                    <a:pt x="212546" y="134790"/>
                    <a:pt x="212546" y="134790"/>
                  </a:cubicBezTo>
                  <a:cubicBezTo>
                    <a:pt x="167610" y="142301"/>
                    <a:pt x="167610" y="184393"/>
                    <a:pt x="167610" y="184393"/>
                  </a:cubicBezTo>
                  <a:cubicBezTo>
                    <a:pt x="167583" y="240543"/>
                    <a:pt x="219065" y="243360"/>
                    <a:pt x="219065" y="243360"/>
                  </a:cubicBezTo>
                  <a:close/>
                  <a:moveTo>
                    <a:pt x="281358" y="114079"/>
                  </a:moveTo>
                  <a:lnTo>
                    <a:pt x="322833" y="144501"/>
                  </a:lnTo>
                  <a:lnTo>
                    <a:pt x="322833" y="114079"/>
                  </a:lnTo>
                  <a:lnTo>
                    <a:pt x="364308" y="144501"/>
                  </a:lnTo>
                  <a:lnTo>
                    <a:pt x="364308" y="114079"/>
                  </a:lnTo>
                  <a:lnTo>
                    <a:pt x="405782" y="144501"/>
                  </a:lnTo>
                  <a:lnTo>
                    <a:pt x="405782" y="76065"/>
                  </a:lnTo>
                  <a:lnTo>
                    <a:pt x="433441" y="76065"/>
                  </a:lnTo>
                  <a:lnTo>
                    <a:pt x="433441" y="197726"/>
                  </a:lnTo>
                  <a:lnTo>
                    <a:pt x="281358" y="197726"/>
                  </a:lnTo>
                  <a:lnTo>
                    <a:pt x="281358" y="114079"/>
                  </a:lnTo>
                  <a:close/>
                  <a:moveTo>
                    <a:pt x="382121" y="296290"/>
                  </a:moveTo>
                  <a:cubicBezTo>
                    <a:pt x="382282" y="309945"/>
                    <a:pt x="371363" y="321132"/>
                    <a:pt x="357708" y="321320"/>
                  </a:cubicBezTo>
                  <a:cubicBezTo>
                    <a:pt x="344053" y="321481"/>
                    <a:pt x="332866" y="310562"/>
                    <a:pt x="332678" y="296907"/>
                  </a:cubicBezTo>
                  <a:cubicBezTo>
                    <a:pt x="332517" y="283252"/>
                    <a:pt x="343436" y="272065"/>
                    <a:pt x="357091" y="271877"/>
                  </a:cubicBezTo>
                  <a:cubicBezTo>
                    <a:pt x="370746" y="271689"/>
                    <a:pt x="381933" y="282635"/>
                    <a:pt x="382121" y="296290"/>
                  </a:cubicBezTo>
                  <a:close/>
                  <a:moveTo>
                    <a:pt x="382121" y="372318"/>
                  </a:moveTo>
                  <a:cubicBezTo>
                    <a:pt x="382282" y="385973"/>
                    <a:pt x="371363" y="397160"/>
                    <a:pt x="357708" y="397348"/>
                  </a:cubicBezTo>
                  <a:cubicBezTo>
                    <a:pt x="344053" y="397509"/>
                    <a:pt x="332866" y="386590"/>
                    <a:pt x="332678" y="372935"/>
                  </a:cubicBezTo>
                  <a:cubicBezTo>
                    <a:pt x="332517" y="359280"/>
                    <a:pt x="343436" y="348093"/>
                    <a:pt x="357091" y="347905"/>
                  </a:cubicBezTo>
                  <a:cubicBezTo>
                    <a:pt x="370746" y="347744"/>
                    <a:pt x="381933" y="358663"/>
                    <a:pt x="382121" y="372318"/>
                  </a:cubicBezTo>
                  <a:close/>
                  <a:moveTo>
                    <a:pt x="402724" y="470962"/>
                  </a:moveTo>
                  <a:cubicBezTo>
                    <a:pt x="403046" y="496126"/>
                    <a:pt x="382899" y="516783"/>
                    <a:pt x="357708" y="517105"/>
                  </a:cubicBezTo>
                  <a:cubicBezTo>
                    <a:pt x="332544" y="517427"/>
                    <a:pt x="311887" y="497280"/>
                    <a:pt x="311565" y="472116"/>
                  </a:cubicBezTo>
                  <a:cubicBezTo>
                    <a:pt x="311243" y="446952"/>
                    <a:pt x="331390" y="426295"/>
                    <a:pt x="356554" y="425973"/>
                  </a:cubicBezTo>
                  <a:cubicBezTo>
                    <a:pt x="381745" y="425651"/>
                    <a:pt x="402402" y="445798"/>
                    <a:pt x="402724" y="470962"/>
                  </a:cubicBezTo>
                  <a:close/>
                  <a:moveTo>
                    <a:pt x="184645" y="332399"/>
                  </a:moveTo>
                  <a:cubicBezTo>
                    <a:pt x="194410" y="341923"/>
                    <a:pt x="194625" y="357563"/>
                    <a:pt x="185075" y="367355"/>
                  </a:cubicBezTo>
                  <a:cubicBezTo>
                    <a:pt x="175551" y="377120"/>
                    <a:pt x="159911" y="377308"/>
                    <a:pt x="150119" y="367784"/>
                  </a:cubicBezTo>
                  <a:cubicBezTo>
                    <a:pt x="140354" y="358261"/>
                    <a:pt x="140139" y="342620"/>
                    <a:pt x="149690" y="332828"/>
                  </a:cubicBezTo>
                  <a:cubicBezTo>
                    <a:pt x="159213" y="323063"/>
                    <a:pt x="174854" y="322876"/>
                    <a:pt x="184645" y="332399"/>
                  </a:cubicBezTo>
                  <a:close/>
                  <a:moveTo>
                    <a:pt x="238058" y="278879"/>
                  </a:moveTo>
                  <a:cubicBezTo>
                    <a:pt x="247824" y="288403"/>
                    <a:pt x="248038" y="304043"/>
                    <a:pt x="238488" y="313835"/>
                  </a:cubicBezTo>
                  <a:cubicBezTo>
                    <a:pt x="228964" y="323600"/>
                    <a:pt x="213324" y="323788"/>
                    <a:pt x="203532" y="314264"/>
                  </a:cubicBezTo>
                  <a:cubicBezTo>
                    <a:pt x="193767" y="304740"/>
                    <a:pt x="193552" y="289100"/>
                    <a:pt x="203102" y="279308"/>
                  </a:cubicBezTo>
                  <a:cubicBezTo>
                    <a:pt x="212653" y="269543"/>
                    <a:pt x="228293" y="269355"/>
                    <a:pt x="238058" y="278879"/>
                  </a:cubicBezTo>
                  <a:close/>
                  <a:moveTo>
                    <a:pt x="131206" y="385839"/>
                  </a:moveTo>
                  <a:cubicBezTo>
                    <a:pt x="140971" y="395363"/>
                    <a:pt x="141185" y="411003"/>
                    <a:pt x="131635" y="420795"/>
                  </a:cubicBezTo>
                  <a:cubicBezTo>
                    <a:pt x="122111" y="430560"/>
                    <a:pt x="106471" y="430775"/>
                    <a:pt x="96679" y="421224"/>
                  </a:cubicBezTo>
                  <a:cubicBezTo>
                    <a:pt x="86914" y="411701"/>
                    <a:pt x="86699" y="396060"/>
                    <a:pt x="96250" y="386268"/>
                  </a:cubicBezTo>
                  <a:cubicBezTo>
                    <a:pt x="105773" y="376503"/>
                    <a:pt x="121414" y="376316"/>
                    <a:pt x="131206" y="385839"/>
                  </a:cubicBezTo>
                  <a:close/>
                  <a:moveTo>
                    <a:pt x="77390" y="438903"/>
                  </a:moveTo>
                  <a:cubicBezTo>
                    <a:pt x="95418" y="456475"/>
                    <a:pt x="95767" y="485342"/>
                    <a:pt x="78195" y="503369"/>
                  </a:cubicBezTo>
                  <a:cubicBezTo>
                    <a:pt x="60623" y="521397"/>
                    <a:pt x="31757" y="521746"/>
                    <a:pt x="13756" y="504174"/>
                  </a:cubicBezTo>
                  <a:cubicBezTo>
                    <a:pt x="-4272" y="486602"/>
                    <a:pt x="-4621" y="457736"/>
                    <a:pt x="12951" y="439735"/>
                  </a:cubicBezTo>
                  <a:cubicBezTo>
                    <a:pt x="30523" y="421707"/>
                    <a:pt x="59362" y="421331"/>
                    <a:pt x="77390" y="438903"/>
                  </a:cubicBezTo>
                  <a:close/>
                  <a:moveTo>
                    <a:pt x="565109" y="332828"/>
                  </a:moveTo>
                  <a:cubicBezTo>
                    <a:pt x="574633" y="342594"/>
                    <a:pt x="574446" y="358234"/>
                    <a:pt x="564680" y="367784"/>
                  </a:cubicBezTo>
                  <a:cubicBezTo>
                    <a:pt x="554915" y="377308"/>
                    <a:pt x="539248" y="377120"/>
                    <a:pt x="529724" y="367355"/>
                  </a:cubicBezTo>
                  <a:cubicBezTo>
                    <a:pt x="520200" y="357590"/>
                    <a:pt x="520388" y="341923"/>
                    <a:pt x="530154" y="332399"/>
                  </a:cubicBezTo>
                  <a:cubicBezTo>
                    <a:pt x="539946" y="322876"/>
                    <a:pt x="555586" y="323063"/>
                    <a:pt x="565109" y="332828"/>
                  </a:cubicBezTo>
                  <a:close/>
                  <a:moveTo>
                    <a:pt x="511669" y="279335"/>
                  </a:moveTo>
                  <a:cubicBezTo>
                    <a:pt x="521193" y="289100"/>
                    <a:pt x="521005" y="304740"/>
                    <a:pt x="511240" y="314291"/>
                  </a:cubicBezTo>
                  <a:cubicBezTo>
                    <a:pt x="501475" y="323814"/>
                    <a:pt x="485808" y="323627"/>
                    <a:pt x="476284" y="313862"/>
                  </a:cubicBezTo>
                  <a:cubicBezTo>
                    <a:pt x="466761" y="304096"/>
                    <a:pt x="466949" y="288456"/>
                    <a:pt x="476713" y="278906"/>
                  </a:cubicBezTo>
                  <a:cubicBezTo>
                    <a:pt x="486479" y="269355"/>
                    <a:pt x="502146" y="269543"/>
                    <a:pt x="511669" y="279335"/>
                  </a:cubicBezTo>
                  <a:close/>
                  <a:moveTo>
                    <a:pt x="618120" y="421224"/>
                  </a:moveTo>
                  <a:cubicBezTo>
                    <a:pt x="608355" y="430748"/>
                    <a:pt x="592688" y="430560"/>
                    <a:pt x="583164" y="420795"/>
                  </a:cubicBezTo>
                  <a:cubicBezTo>
                    <a:pt x="573641" y="411030"/>
                    <a:pt x="573828" y="395390"/>
                    <a:pt x="583593" y="385839"/>
                  </a:cubicBezTo>
                  <a:cubicBezTo>
                    <a:pt x="593358" y="376316"/>
                    <a:pt x="608999" y="376503"/>
                    <a:pt x="618549" y="386268"/>
                  </a:cubicBezTo>
                  <a:cubicBezTo>
                    <a:pt x="628073" y="396060"/>
                    <a:pt x="627885" y="411701"/>
                    <a:pt x="618120" y="421224"/>
                  </a:cubicBezTo>
                  <a:close/>
                  <a:moveTo>
                    <a:pt x="701070" y="504174"/>
                  </a:moveTo>
                  <a:cubicBezTo>
                    <a:pt x="683042" y="521746"/>
                    <a:pt x="654203" y="521397"/>
                    <a:pt x="636631" y="503369"/>
                  </a:cubicBezTo>
                  <a:cubicBezTo>
                    <a:pt x="619059" y="485342"/>
                    <a:pt x="619407" y="456502"/>
                    <a:pt x="637436" y="438903"/>
                  </a:cubicBezTo>
                  <a:cubicBezTo>
                    <a:pt x="655464" y="421331"/>
                    <a:pt x="684303" y="421680"/>
                    <a:pt x="701875" y="439708"/>
                  </a:cubicBezTo>
                  <a:cubicBezTo>
                    <a:pt x="719446" y="457736"/>
                    <a:pt x="719071" y="486602"/>
                    <a:pt x="701070" y="504174"/>
                  </a:cubicBezTo>
                  <a:close/>
                </a:path>
              </a:pathLst>
            </a:custGeom>
            <a:solidFill>
              <a:schemeClr val="tx1"/>
            </a:solidFill>
            <a:ln w="2681"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21" name="Ellipse 220">
              <a:extLst>
                <a:ext uri="{FF2B5EF4-FFF2-40B4-BE49-F238E27FC236}">
                  <a16:creationId xmlns:a16="http://schemas.microsoft.com/office/drawing/2014/main" id="{F8D8B9A4-1E0D-465A-A6E0-C43CEC17794E}"/>
                </a:ext>
              </a:extLst>
            </p:cNvPr>
            <p:cNvSpPr/>
            <p:nvPr/>
          </p:nvSpPr>
          <p:spPr>
            <a:xfrm>
              <a:off x="5038725" y="3951342"/>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22" name="Gerader Verbinder 221">
              <a:extLst>
                <a:ext uri="{FF2B5EF4-FFF2-40B4-BE49-F238E27FC236}">
                  <a16:creationId xmlns:a16="http://schemas.microsoft.com/office/drawing/2014/main" id="{259CD7B4-918A-4270-90DD-CC47599270DF}"/>
                </a:ext>
              </a:extLst>
            </p:cNvPr>
            <p:cNvCxnSpPr>
              <a:cxnSpLocks/>
            </p:cNvCxnSpPr>
            <p:nvPr/>
          </p:nvCxnSpPr>
          <p:spPr>
            <a:xfrm flipH="1">
              <a:off x="5293472" y="2300288"/>
              <a:ext cx="754903" cy="461352"/>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3" name="Gerader Verbinder 222">
              <a:extLst>
                <a:ext uri="{FF2B5EF4-FFF2-40B4-BE49-F238E27FC236}">
                  <a16:creationId xmlns:a16="http://schemas.microsoft.com/office/drawing/2014/main" id="{5376258E-A2D3-4AA6-96BC-7F18271BBC86}"/>
                </a:ext>
              </a:extLst>
            </p:cNvPr>
            <p:cNvCxnSpPr>
              <a:cxnSpLocks/>
            </p:cNvCxnSpPr>
            <p:nvPr/>
          </p:nvCxnSpPr>
          <p:spPr>
            <a:xfrm>
              <a:off x="5219044" y="3164427"/>
              <a:ext cx="491195" cy="83598"/>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4" name="Ellipse 223">
              <a:extLst>
                <a:ext uri="{FF2B5EF4-FFF2-40B4-BE49-F238E27FC236}">
                  <a16:creationId xmlns:a16="http://schemas.microsoft.com/office/drawing/2014/main" id="{8A211290-B0B2-4E76-8A22-E2607279ACC2}"/>
                </a:ext>
              </a:extLst>
            </p:cNvPr>
            <p:cNvSpPr/>
            <p:nvPr/>
          </p:nvSpPr>
          <p:spPr>
            <a:xfrm>
              <a:off x="5681751" y="3221094"/>
              <a:ext cx="52034" cy="5203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25" name="Gerader Verbinder 224">
              <a:extLst>
                <a:ext uri="{FF2B5EF4-FFF2-40B4-BE49-F238E27FC236}">
                  <a16:creationId xmlns:a16="http://schemas.microsoft.com/office/drawing/2014/main" id="{C23CAD0F-2220-4972-BC4C-5176CE6B6D53}"/>
                </a:ext>
              </a:extLst>
            </p:cNvPr>
            <p:cNvCxnSpPr>
              <a:cxnSpLocks/>
            </p:cNvCxnSpPr>
            <p:nvPr/>
          </p:nvCxnSpPr>
          <p:spPr>
            <a:xfrm flipV="1">
              <a:off x="5086350" y="3248025"/>
              <a:ext cx="622300" cy="76200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6" name="Gerader Verbinder 225">
              <a:extLst>
                <a:ext uri="{FF2B5EF4-FFF2-40B4-BE49-F238E27FC236}">
                  <a16:creationId xmlns:a16="http://schemas.microsoft.com/office/drawing/2014/main" id="{1CFEFF74-4FC4-438F-BCF6-E964132B4290}"/>
                </a:ext>
              </a:extLst>
            </p:cNvPr>
            <p:cNvCxnSpPr>
              <a:cxnSpLocks/>
            </p:cNvCxnSpPr>
            <p:nvPr/>
          </p:nvCxnSpPr>
          <p:spPr>
            <a:xfrm>
              <a:off x="5705475" y="3248025"/>
              <a:ext cx="819150" cy="138113"/>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27" name="Gerader Verbinder 226">
              <a:extLst>
                <a:ext uri="{FF2B5EF4-FFF2-40B4-BE49-F238E27FC236}">
                  <a16:creationId xmlns:a16="http://schemas.microsoft.com/office/drawing/2014/main" id="{8D903A44-19A1-4B48-B014-223C4E392469}"/>
                </a:ext>
              </a:extLst>
            </p:cNvPr>
            <p:cNvCxnSpPr>
              <a:cxnSpLocks/>
            </p:cNvCxnSpPr>
            <p:nvPr/>
          </p:nvCxnSpPr>
          <p:spPr>
            <a:xfrm flipH="1" flipV="1">
              <a:off x="6489700" y="2298700"/>
              <a:ext cx="25401" cy="1089025"/>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28" name="Ellipse 227">
              <a:extLst>
                <a:ext uri="{FF2B5EF4-FFF2-40B4-BE49-F238E27FC236}">
                  <a16:creationId xmlns:a16="http://schemas.microsoft.com/office/drawing/2014/main" id="{A956ECA5-378E-411C-89ED-F290784680C5}"/>
                </a:ext>
              </a:extLst>
            </p:cNvPr>
            <p:cNvSpPr/>
            <p:nvPr/>
          </p:nvSpPr>
          <p:spPr>
            <a:xfrm>
              <a:off x="3437800" y="5222161"/>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29" name="Gerader Verbinder 228">
              <a:extLst>
                <a:ext uri="{FF2B5EF4-FFF2-40B4-BE49-F238E27FC236}">
                  <a16:creationId xmlns:a16="http://schemas.microsoft.com/office/drawing/2014/main" id="{9D1BD386-8E43-44D0-A144-F7E9F33C2AEF}"/>
                </a:ext>
              </a:extLst>
            </p:cNvPr>
            <p:cNvCxnSpPr>
              <a:cxnSpLocks/>
            </p:cNvCxnSpPr>
            <p:nvPr/>
          </p:nvCxnSpPr>
          <p:spPr>
            <a:xfrm flipV="1">
              <a:off x="3497580" y="3497580"/>
              <a:ext cx="350520" cy="1767841"/>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30" name="Ellipse 229">
              <a:extLst>
                <a:ext uri="{FF2B5EF4-FFF2-40B4-BE49-F238E27FC236}">
                  <a16:creationId xmlns:a16="http://schemas.microsoft.com/office/drawing/2014/main" id="{5E22FE8F-7964-4B3E-B52A-93C9E350090F}"/>
                </a:ext>
              </a:extLst>
            </p:cNvPr>
            <p:cNvSpPr/>
            <p:nvPr/>
          </p:nvSpPr>
          <p:spPr>
            <a:xfrm>
              <a:off x="2072932" y="4728472"/>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31" name="Ellipse 230">
              <a:extLst>
                <a:ext uri="{FF2B5EF4-FFF2-40B4-BE49-F238E27FC236}">
                  <a16:creationId xmlns:a16="http://schemas.microsoft.com/office/drawing/2014/main" id="{EF30C321-4E3B-4C60-8F89-AAD1DB2ED955}"/>
                </a:ext>
              </a:extLst>
            </p:cNvPr>
            <p:cNvSpPr/>
            <p:nvPr/>
          </p:nvSpPr>
          <p:spPr>
            <a:xfrm>
              <a:off x="533692" y="5528572"/>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32" name="Gerader Verbinder 231">
              <a:extLst>
                <a:ext uri="{FF2B5EF4-FFF2-40B4-BE49-F238E27FC236}">
                  <a16:creationId xmlns:a16="http://schemas.microsoft.com/office/drawing/2014/main" id="{03065D07-B205-4225-B76F-8EE54DFEB20E}"/>
                </a:ext>
              </a:extLst>
            </p:cNvPr>
            <p:cNvCxnSpPr>
              <a:cxnSpLocks/>
            </p:cNvCxnSpPr>
            <p:nvPr/>
          </p:nvCxnSpPr>
          <p:spPr>
            <a:xfrm flipH="1">
              <a:off x="566738" y="4941094"/>
              <a:ext cx="257176" cy="621506"/>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3" name="Gerader Verbinder 232">
              <a:extLst>
                <a:ext uri="{FF2B5EF4-FFF2-40B4-BE49-F238E27FC236}">
                  <a16:creationId xmlns:a16="http://schemas.microsoft.com/office/drawing/2014/main" id="{501C477D-5DB8-4822-99E3-9D21C617FA23}"/>
                </a:ext>
              </a:extLst>
            </p:cNvPr>
            <p:cNvCxnSpPr>
              <a:cxnSpLocks/>
            </p:cNvCxnSpPr>
            <p:nvPr/>
          </p:nvCxnSpPr>
          <p:spPr>
            <a:xfrm>
              <a:off x="1254919" y="4505325"/>
              <a:ext cx="854869" cy="252413"/>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4" name="Gerader Verbinder 233">
              <a:extLst>
                <a:ext uri="{FF2B5EF4-FFF2-40B4-BE49-F238E27FC236}">
                  <a16:creationId xmlns:a16="http://schemas.microsoft.com/office/drawing/2014/main" id="{A5DC3AE5-D0B5-4628-8A55-2696F1C7C6BD}"/>
                </a:ext>
              </a:extLst>
            </p:cNvPr>
            <p:cNvCxnSpPr>
              <a:cxnSpLocks/>
            </p:cNvCxnSpPr>
            <p:nvPr/>
          </p:nvCxnSpPr>
          <p:spPr>
            <a:xfrm>
              <a:off x="2100263" y="4762500"/>
              <a:ext cx="1400175" cy="519113"/>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5" name="Gerader Verbinder 234">
              <a:extLst>
                <a:ext uri="{FF2B5EF4-FFF2-40B4-BE49-F238E27FC236}">
                  <a16:creationId xmlns:a16="http://schemas.microsoft.com/office/drawing/2014/main" id="{55A9BB53-5E0D-46A1-BC4E-A4E94A44C84C}"/>
                </a:ext>
              </a:extLst>
            </p:cNvPr>
            <p:cNvCxnSpPr>
              <a:cxnSpLocks/>
            </p:cNvCxnSpPr>
            <p:nvPr/>
          </p:nvCxnSpPr>
          <p:spPr>
            <a:xfrm flipV="1">
              <a:off x="3495675" y="4019550"/>
              <a:ext cx="1585913" cy="1262063"/>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36" name="Ellipse 235">
              <a:extLst>
                <a:ext uri="{FF2B5EF4-FFF2-40B4-BE49-F238E27FC236}">
                  <a16:creationId xmlns:a16="http://schemas.microsoft.com/office/drawing/2014/main" id="{DB1BE0E7-DC05-4DA9-9B2F-EFFC6303FF6A}"/>
                </a:ext>
              </a:extLst>
            </p:cNvPr>
            <p:cNvSpPr/>
            <p:nvPr/>
          </p:nvSpPr>
          <p:spPr>
            <a:xfrm>
              <a:off x="7017042" y="5211072"/>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37" name="Gerader Verbinder 236">
              <a:extLst>
                <a:ext uri="{FF2B5EF4-FFF2-40B4-BE49-F238E27FC236}">
                  <a16:creationId xmlns:a16="http://schemas.microsoft.com/office/drawing/2014/main" id="{A5AC21F9-375F-4D34-94D1-896A105EB3E5}"/>
                </a:ext>
              </a:extLst>
            </p:cNvPr>
            <p:cNvCxnSpPr>
              <a:cxnSpLocks/>
            </p:cNvCxnSpPr>
            <p:nvPr/>
          </p:nvCxnSpPr>
          <p:spPr>
            <a:xfrm flipH="1" flipV="1">
              <a:off x="5105400" y="4006850"/>
              <a:ext cx="1949450" cy="124460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38" name="Gerader Verbinder 237">
              <a:extLst>
                <a:ext uri="{FF2B5EF4-FFF2-40B4-BE49-F238E27FC236}">
                  <a16:creationId xmlns:a16="http://schemas.microsoft.com/office/drawing/2014/main" id="{681A1D70-C516-43D8-A9BA-76F85CD20A7E}"/>
                </a:ext>
              </a:extLst>
            </p:cNvPr>
            <p:cNvCxnSpPr>
              <a:cxnSpLocks/>
            </p:cNvCxnSpPr>
            <p:nvPr/>
          </p:nvCxnSpPr>
          <p:spPr>
            <a:xfrm flipV="1">
              <a:off x="1352550" y="1871663"/>
              <a:ext cx="638175" cy="383381"/>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sp>
          <p:nvSpPr>
            <p:cNvPr id="239" name="Ellipse 238">
              <a:extLst>
                <a:ext uri="{FF2B5EF4-FFF2-40B4-BE49-F238E27FC236}">
                  <a16:creationId xmlns:a16="http://schemas.microsoft.com/office/drawing/2014/main" id="{D919834D-F6C5-48DE-80FD-3DD1CD48286A}"/>
                </a:ext>
              </a:extLst>
            </p:cNvPr>
            <p:cNvSpPr/>
            <p:nvPr/>
          </p:nvSpPr>
          <p:spPr>
            <a:xfrm>
              <a:off x="1935390" y="1810941"/>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0" name="Raute 239">
              <a:extLst>
                <a:ext uri="{FF2B5EF4-FFF2-40B4-BE49-F238E27FC236}">
                  <a16:creationId xmlns:a16="http://schemas.microsoft.com/office/drawing/2014/main" id="{FC8F9543-5A4E-440F-B1D8-D3AF2F04ED9F}"/>
                </a:ext>
              </a:extLst>
            </p:cNvPr>
            <p:cNvSpPr>
              <a:spLocks/>
            </p:cNvSpPr>
            <p:nvPr/>
          </p:nvSpPr>
          <p:spPr>
            <a:xfrm>
              <a:off x="423256" y="1416571"/>
              <a:ext cx="871709" cy="871708"/>
            </a:xfrm>
            <a:prstGeom prst="diamond">
              <a:avLst/>
            </a:prstGeom>
            <a:gradFill>
              <a:gsLst>
                <a:gs pos="100000">
                  <a:schemeClr val="bg2">
                    <a:alpha val="0"/>
                  </a:schemeClr>
                </a:gs>
                <a:gs pos="0">
                  <a:schemeClr val="accent3">
                    <a:alpha val="65000"/>
                  </a:schemeClr>
                </a:gs>
              </a:gsLst>
              <a:lin ang="2700000" scaled="1"/>
            </a:gra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1" name="Freihandform: Form 240">
              <a:extLst>
                <a:ext uri="{FF2B5EF4-FFF2-40B4-BE49-F238E27FC236}">
                  <a16:creationId xmlns:a16="http://schemas.microsoft.com/office/drawing/2014/main" id="{D9E8AAFB-700D-43F8-9CF8-42076EC8F248}"/>
                </a:ext>
              </a:extLst>
            </p:cNvPr>
            <p:cNvSpPr>
              <a:spLocks/>
            </p:cNvSpPr>
            <p:nvPr/>
          </p:nvSpPr>
          <p:spPr>
            <a:xfrm>
              <a:off x="678051" y="1631139"/>
              <a:ext cx="362120" cy="442572"/>
            </a:xfrm>
            <a:custGeom>
              <a:avLst/>
              <a:gdLst>
                <a:gd name="connsiteX0" fmla="*/ 352637 w 705183"/>
                <a:gd name="connsiteY0" fmla="*/ 443894 h 861854"/>
                <a:gd name="connsiteX1" fmla="*/ 326517 w 705183"/>
                <a:gd name="connsiteY1" fmla="*/ 470014 h 861854"/>
                <a:gd name="connsiteX2" fmla="*/ 326517 w 705183"/>
                <a:gd name="connsiteY2" fmla="*/ 509308 h 861854"/>
                <a:gd name="connsiteX3" fmla="*/ 352637 w 705183"/>
                <a:gd name="connsiteY3" fmla="*/ 535428 h 861854"/>
                <a:gd name="connsiteX4" fmla="*/ 378757 w 705183"/>
                <a:gd name="connsiteY4" fmla="*/ 509308 h 861854"/>
                <a:gd name="connsiteX5" fmla="*/ 378757 w 705183"/>
                <a:gd name="connsiteY5" fmla="*/ 470014 h 861854"/>
                <a:gd name="connsiteX6" fmla="*/ 352637 w 705183"/>
                <a:gd name="connsiteY6" fmla="*/ 443894 h 861854"/>
                <a:gd name="connsiteX7" fmla="*/ 222039 w 705183"/>
                <a:gd name="connsiteY7" fmla="*/ 404784 h 861854"/>
                <a:gd name="connsiteX8" fmla="*/ 483189 w 705183"/>
                <a:gd name="connsiteY8" fmla="*/ 404784 h 861854"/>
                <a:gd name="connsiteX9" fmla="*/ 483189 w 705183"/>
                <a:gd name="connsiteY9" fmla="*/ 574538 h 861854"/>
                <a:gd name="connsiteX10" fmla="*/ 222039 w 705183"/>
                <a:gd name="connsiteY10" fmla="*/ 574538 h 861854"/>
                <a:gd name="connsiteX11" fmla="*/ 324490 w 705183"/>
                <a:gd name="connsiteY11" fmla="*/ 261149 h 861854"/>
                <a:gd name="connsiteX12" fmla="*/ 380599 w 705183"/>
                <a:gd name="connsiteY12" fmla="*/ 261149 h 861854"/>
                <a:gd name="connsiteX13" fmla="*/ 447119 w 705183"/>
                <a:gd name="connsiteY13" fmla="*/ 327254 h 861854"/>
                <a:gd name="connsiteX14" fmla="*/ 447119 w 705183"/>
                <a:gd name="connsiteY14" fmla="*/ 377512 h 861854"/>
                <a:gd name="connsiteX15" fmla="*/ 402112 w 705183"/>
                <a:gd name="connsiteY15" fmla="*/ 377512 h 861854"/>
                <a:gd name="connsiteX16" fmla="*/ 402112 w 705183"/>
                <a:gd name="connsiteY16" fmla="*/ 327254 h 861854"/>
                <a:gd name="connsiteX17" fmla="*/ 380645 w 705183"/>
                <a:gd name="connsiteY17" fmla="*/ 305879 h 861854"/>
                <a:gd name="connsiteX18" fmla="*/ 324537 w 705183"/>
                <a:gd name="connsiteY18" fmla="*/ 305879 h 861854"/>
                <a:gd name="connsiteX19" fmla="*/ 303070 w 705183"/>
                <a:gd name="connsiteY19" fmla="*/ 327254 h 861854"/>
                <a:gd name="connsiteX20" fmla="*/ 303070 w 705183"/>
                <a:gd name="connsiteY20" fmla="*/ 377512 h 861854"/>
                <a:gd name="connsiteX21" fmla="*/ 258063 w 705183"/>
                <a:gd name="connsiteY21" fmla="*/ 377512 h 861854"/>
                <a:gd name="connsiteX22" fmla="*/ 258063 w 705183"/>
                <a:gd name="connsiteY22" fmla="*/ 327254 h 861854"/>
                <a:gd name="connsiteX23" fmla="*/ 324490 w 705183"/>
                <a:gd name="connsiteY23" fmla="*/ 261149 h 861854"/>
                <a:gd name="connsiteX24" fmla="*/ 352683 w 705183"/>
                <a:gd name="connsiteY24" fmla="*/ 70850 h 861854"/>
                <a:gd name="connsiteX25" fmla="*/ 64585 w 705183"/>
                <a:gd name="connsiteY25" fmla="*/ 201862 h 861854"/>
                <a:gd name="connsiteX26" fmla="*/ 64585 w 705183"/>
                <a:gd name="connsiteY26" fmla="*/ 391748 h 861854"/>
                <a:gd name="connsiteX27" fmla="*/ 152157 w 705183"/>
                <a:gd name="connsiteY27" fmla="*/ 651239 h 861854"/>
                <a:gd name="connsiteX28" fmla="*/ 352637 w 705183"/>
                <a:gd name="connsiteY28" fmla="*/ 795058 h 861854"/>
                <a:gd name="connsiteX29" fmla="*/ 553118 w 705183"/>
                <a:gd name="connsiteY29" fmla="*/ 651239 h 861854"/>
                <a:gd name="connsiteX30" fmla="*/ 640690 w 705183"/>
                <a:gd name="connsiteY30" fmla="*/ 391748 h 861854"/>
                <a:gd name="connsiteX31" fmla="*/ 640782 w 705183"/>
                <a:gd name="connsiteY31" fmla="*/ 391748 h 861854"/>
                <a:gd name="connsiteX32" fmla="*/ 640782 w 705183"/>
                <a:gd name="connsiteY32" fmla="*/ 201862 h 861854"/>
                <a:gd name="connsiteX33" fmla="*/ 352591 w 705183"/>
                <a:gd name="connsiteY33" fmla="*/ 0 h 861854"/>
                <a:gd name="connsiteX34" fmla="*/ 705183 w 705183"/>
                <a:gd name="connsiteY34" fmla="*/ 160357 h 861854"/>
                <a:gd name="connsiteX35" fmla="*/ 705183 w 705183"/>
                <a:gd name="connsiteY35" fmla="*/ 391748 h 861854"/>
                <a:gd name="connsiteX36" fmla="*/ 352591 w 705183"/>
                <a:gd name="connsiteY36" fmla="*/ 861854 h 861854"/>
                <a:gd name="connsiteX37" fmla="*/ 0 w 705183"/>
                <a:gd name="connsiteY37" fmla="*/ 391748 h 861854"/>
                <a:gd name="connsiteX38" fmla="*/ 0 w 705183"/>
                <a:gd name="connsiteY38" fmla="*/ 160357 h 86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05183" h="861854">
                  <a:moveTo>
                    <a:pt x="352637" y="443894"/>
                  </a:moveTo>
                  <a:cubicBezTo>
                    <a:pt x="338218" y="443894"/>
                    <a:pt x="326517" y="455595"/>
                    <a:pt x="326517" y="470014"/>
                  </a:cubicBezTo>
                  <a:lnTo>
                    <a:pt x="326517" y="509308"/>
                  </a:lnTo>
                  <a:cubicBezTo>
                    <a:pt x="326517" y="523727"/>
                    <a:pt x="338218" y="535428"/>
                    <a:pt x="352637" y="535428"/>
                  </a:cubicBezTo>
                  <a:cubicBezTo>
                    <a:pt x="367056" y="535428"/>
                    <a:pt x="378757" y="523727"/>
                    <a:pt x="378757" y="509308"/>
                  </a:cubicBezTo>
                  <a:lnTo>
                    <a:pt x="378757" y="470014"/>
                  </a:lnTo>
                  <a:cubicBezTo>
                    <a:pt x="378757" y="455595"/>
                    <a:pt x="367056" y="443894"/>
                    <a:pt x="352637" y="443894"/>
                  </a:cubicBezTo>
                  <a:close/>
                  <a:moveTo>
                    <a:pt x="222039" y="404784"/>
                  </a:moveTo>
                  <a:lnTo>
                    <a:pt x="483189" y="404784"/>
                  </a:lnTo>
                  <a:lnTo>
                    <a:pt x="483189" y="574538"/>
                  </a:lnTo>
                  <a:lnTo>
                    <a:pt x="222039" y="574538"/>
                  </a:lnTo>
                  <a:close/>
                  <a:moveTo>
                    <a:pt x="324490" y="261149"/>
                  </a:moveTo>
                  <a:lnTo>
                    <a:pt x="380599" y="261149"/>
                  </a:lnTo>
                  <a:cubicBezTo>
                    <a:pt x="417176" y="261149"/>
                    <a:pt x="447119" y="290862"/>
                    <a:pt x="447119" y="327254"/>
                  </a:cubicBezTo>
                  <a:lnTo>
                    <a:pt x="447119" y="377512"/>
                  </a:lnTo>
                  <a:lnTo>
                    <a:pt x="402112" y="377512"/>
                  </a:lnTo>
                  <a:lnTo>
                    <a:pt x="402112" y="327254"/>
                  </a:lnTo>
                  <a:cubicBezTo>
                    <a:pt x="402112" y="315645"/>
                    <a:pt x="392300" y="305879"/>
                    <a:pt x="380645" y="305879"/>
                  </a:cubicBezTo>
                  <a:lnTo>
                    <a:pt x="324537" y="305879"/>
                  </a:lnTo>
                  <a:cubicBezTo>
                    <a:pt x="312928" y="305879"/>
                    <a:pt x="303070" y="315692"/>
                    <a:pt x="303070" y="327254"/>
                  </a:cubicBezTo>
                  <a:lnTo>
                    <a:pt x="303070" y="377512"/>
                  </a:lnTo>
                  <a:lnTo>
                    <a:pt x="258063" y="377512"/>
                  </a:lnTo>
                  <a:lnTo>
                    <a:pt x="258063" y="327254"/>
                  </a:lnTo>
                  <a:cubicBezTo>
                    <a:pt x="258063" y="290908"/>
                    <a:pt x="287960" y="261149"/>
                    <a:pt x="324490" y="261149"/>
                  </a:cubicBezTo>
                  <a:close/>
                  <a:moveTo>
                    <a:pt x="352683" y="70850"/>
                  </a:moveTo>
                  <a:lnTo>
                    <a:pt x="64585" y="201862"/>
                  </a:lnTo>
                  <a:lnTo>
                    <a:pt x="64585" y="391748"/>
                  </a:lnTo>
                  <a:cubicBezTo>
                    <a:pt x="64585" y="483512"/>
                    <a:pt x="95680" y="575644"/>
                    <a:pt x="152157" y="651239"/>
                  </a:cubicBezTo>
                  <a:cubicBezTo>
                    <a:pt x="204765" y="721674"/>
                    <a:pt x="275476" y="772255"/>
                    <a:pt x="352637" y="795058"/>
                  </a:cubicBezTo>
                  <a:cubicBezTo>
                    <a:pt x="429798" y="772301"/>
                    <a:pt x="500510" y="721674"/>
                    <a:pt x="553118" y="651239"/>
                  </a:cubicBezTo>
                  <a:cubicBezTo>
                    <a:pt x="609595" y="575598"/>
                    <a:pt x="640690" y="483466"/>
                    <a:pt x="640690" y="391748"/>
                  </a:cubicBezTo>
                  <a:lnTo>
                    <a:pt x="640782" y="391748"/>
                  </a:lnTo>
                  <a:lnTo>
                    <a:pt x="640782" y="201862"/>
                  </a:lnTo>
                  <a:close/>
                  <a:moveTo>
                    <a:pt x="352591" y="0"/>
                  </a:moveTo>
                  <a:lnTo>
                    <a:pt x="705183" y="160357"/>
                  </a:lnTo>
                  <a:lnTo>
                    <a:pt x="705183" y="391748"/>
                  </a:lnTo>
                  <a:cubicBezTo>
                    <a:pt x="705183" y="609365"/>
                    <a:pt x="554914" y="812287"/>
                    <a:pt x="352591" y="861854"/>
                  </a:cubicBezTo>
                  <a:cubicBezTo>
                    <a:pt x="150222" y="812287"/>
                    <a:pt x="0" y="609365"/>
                    <a:pt x="0" y="391748"/>
                  </a:cubicBezTo>
                  <a:lnTo>
                    <a:pt x="0" y="160357"/>
                  </a:lnTo>
                  <a:close/>
                </a:path>
              </a:pathLst>
            </a:custGeom>
            <a:solidFill>
              <a:schemeClr val="tx1"/>
            </a:solidFill>
            <a:ln w="4604"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2" name="Ellipse 241">
              <a:extLst>
                <a:ext uri="{FF2B5EF4-FFF2-40B4-BE49-F238E27FC236}">
                  <a16:creationId xmlns:a16="http://schemas.microsoft.com/office/drawing/2014/main" id="{B38AE65F-CCCE-41E7-9CB4-E4E37288F3B5}"/>
                </a:ext>
              </a:extLst>
            </p:cNvPr>
            <p:cNvSpPr/>
            <p:nvPr/>
          </p:nvSpPr>
          <p:spPr>
            <a:xfrm>
              <a:off x="3411630" y="3621500"/>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3" name="Ellipse 242">
              <a:extLst>
                <a:ext uri="{FF2B5EF4-FFF2-40B4-BE49-F238E27FC236}">
                  <a16:creationId xmlns:a16="http://schemas.microsoft.com/office/drawing/2014/main" id="{9F3ABE5F-557E-49CA-A3EC-51F5DBC64FB4}"/>
                </a:ext>
              </a:extLst>
            </p:cNvPr>
            <p:cNvSpPr/>
            <p:nvPr/>
          </p:nvSpPr>
          <p:spPr>
            <a:xfrm>
              <a:off x="560480" y="3869150"/>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4" name="Ellipse 243">
              <a:extLst>
                <a:ext uri="{FF2B5EF4-FFF2-40B4-BE49-F238E27FC236}">
                  <a16:creationId xmlns:a16="http://schemas.microsoft.com/office/drawing/2014/main" id="{A0FB3B84-1ED1-4BCB-AF63-CB691A5F515B}"/>
                </a:ext>
              </a:extLst>
            </p:cNvPr>
            <p:cNvSpPr/>
            <p:nvPr/>
          </p:nvSpPr>
          <p:spPr>
            <a:xfrm>
              <a:off x="6986680" y="2611850"/>
              <a:ext cx="65313" cy="653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5" name="Ellipse 244">
              <a:extLst>
                <a:ext uri="{FF2B5EF4-FFF2-40B4-BE49-F238E27FC236}">
                  <a16:creationId xmlns:a16="http://schemas.microsoft.com/office/drawing/2014/main" id="{00637811-D17F-45B9-9A19-BF032216D243}"/>
                </a:ext>
              </a:extLst>
            </p:cNvPr>
            <p:cNvSpPr/>
            <p:nvPr/>
          </p:nvSpPr>
          <p:spPr>
            <a:xfrm>
              <a:off x="7059074" y="4217438"/>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sp>
          <p:nvSpPr>
            <p:cNvPr id="246" name="Ellipse 245">
              <a:extLst>
                <a:ext uri="{FF2B5EF4-FFF2-40B4-BE49-F238E27FC236}">
                  <a16:creationId xmlns:a16="http://schemas.microsoft.com/office/drawing/2014/main" id="{B95FC87C-798F-4913-B22E-D6BE8CE67B42}"/>
                </a:ext>
              </a:extLst>
            </p:cNvPr>
            <p:cNvSpPr/>
            <p:nvPr/>
          </p:nvSpPr>
          <p:spPr>
            <a:xfrm>
              <a:off x="4207924" y="5970038"/>
              <a:ext cx="111170" cy="1111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endParaRPr lang="de-DE" dirty="0">
                <a:solidFill>
                  <a:prstClr val="white"/>
                </a:solidFill>
                <a:latin typeface="Arial"/>
              </a:endParaRPr>
            </a:p>
          </p:txBody>
        </p:sp>
        <p:cxnSp>
          <p:nvCxnSpPr>
            <p:cNvPr id="247" name="Gerader Verbinder 246">
              <a:extLst>
                <a:ext uri="{FF2B5EF4-FFF2-40B4-BE49-F238E27FC236}">
                  <a16:creationId xmlns:a16="http://schemas.microsoft.com/office/drawing/2014/main" id="{F258F446-B75D-45A8-85E4-6F2CEFDF5AAC}"/>
                </a:ext>
              </a:extLst>
            </p:cNvPr>
            <p:cNvCxnSpPr>
              <a:cxnSpLocks/>
            </p:cNvCxnSpPr>
            <p:nvPr/>
          </p:nvCxnSpPr>
          <p:spPr>
            <a:xfrm flipV="1">
              <a:off x="4267200" y="5251450"/>
              <a:ext cx="2774950" cy="774701"/>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8" name="Gerader Verbinder 247">
              <a:extLst>
                <a:ext uri="{FF2B5EF4-FFF2-40B4-BE49-F238E27FC236}">
                  <a16:creationId xmlns:a16="http://schemas.microsoft.com/office/drawing/2014/main" id="{CE591DA4-5088-43F4-A6D4-CC07BC6EEEFE}"/>
                </a:ext>
              </a:extLst>
            </p:cNvPr>
            <p:cNvCxnSpPr>
              <a:cxnSpLocks/>
            </p:cNvCxnSpPr>
            <p:nvPr/>
          </p:nvCxnSpPr>
          <p:spPr>
            <a:xfrm flipH="1" flipV="1">
              <a:off x="6483178" y="2303464"/>
              <a:ext cx="539922" cy="344486"/>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49" name="Gerader Verbinder 248">
              <a:extLst>
                <a:ext uri="{FF2B5EF4-FFF2-40B4-BE49-F238E27FC236}">
                  <a16:creationId xmlns:a16="http://schemas.microsoft.com/office/drawing/2014/main" id="{5C92510F-AF4F-4EEC-AE8F-B2460E270924}"/>
                </a:ext>
              </a:extLst>
            </p:cNvPr>
            <p:cNvCxnSpPr>
              <a:cxnSpLocks/>
            </p:cNvCxnSpPr>
            <p:nvPr/>
          </p:nvCxnSpPr>
          <p:spPr>
            <a:xfrm flipH="1" flipV="1">
              <a:off x="6515100" y="3384551"/>
              <a:ext cx="596900" cy="882649"/>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50" name="Gerader Verbinder 249">
              <a:extLst>
                <a:ext uri="{FF2B5EF4-FFF2-40B4-BE49-F238E27FC236}">
                  <a16:creationId xmlns:a16="http://schemas.microsoft.com/office/drawing/2014/main" id="{5D6A43DB-B996-4187-946A-9CCA3E50D9F5}"/>
                </a:ext>
              </a:extLst>
            </p:cNvPr>
            <p:cNvCxnSpPr>
              <a:cxnSpLocks/>
            </p:cNvCxnSpPr>
            <p:nvPr/>
          </p:nvCxnSpPr>
          <p:spPr>
            <a:xfrm flipV="1">
              <a:off x="3454400" y="3524250"/>
              <a:ext cx="381000" cy="13335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cxnSp>
          <p:nvCxnSpPr>
            <p:cNvPr id="251" name="Gerader Verbinder 250">
              <a:extLst>
                <a:ext uri="{FF2B5EF4-FFF2-40B4-BE49-F238E27FC236}">
                  <a16:creationId xmlns:a16="http://schemas.microsoft.com/office/drawing/2014/main" id="{16D60A5D-BA46-468C-A2D3-A130E7819508}"/>
                </a:ext>
              </a:extLst>
            </p:cNvPr>
            <p:cNvCxnSpPr>
              <a:cxnSpLocks/>
            </p:cNvCxnSpPr>
            <p:nvPr/>
          </p:nvCxnSpPr>
          <p:spPr>
            <a:xfrm>
              <a:off x="590550" y="3905250"/>
              <a:ext cx="38100" cy="361950"/>
            </a:xfrm>
            <a:prstGeom prst="line">
              <a:avLst/>
            </a:prstGeom>
            <a:ln w="9525">
              <a:solidFill>
                <a:schemeClr val="accent5"/>
              </a:solidFill>
              <a:headEnd w="lg" len="lg"/>
              <a:tailEnd type="none" w="lg" len="lg"/>
            </a:ln>
          </p:spPr>
          <p:style>
            <a:lnRef idx="1">
              <a:schemeClr val="accent1"/>
            </a:lnRef>
            <a:fillRef idx="0">
              <a:schemeClr val="accent1"/>
            </a:fillRef>
            <a:effectRef idx="0">
              <a:schemeClr val="accent1"/>
            </a:effectRef>
            <a:fontRef idx="minor">
              <a:schemeClr val="tx1"/>
            </a:fontRef>
          </p:style>
        </p:cxnSp>
      </p:grpSp>
      <p:graphicFrame>
        <p:nvGraphicFramePr>
          <p:cNvPr id="5" name="Objekt 4" hidden="1">
            <a:extLst>
              <a:ext uri="{FF2B5EF4-FFF2-40B4-BE49-F238E27FC236}">
                <a16:creationId xmlns:a16="http://schemas.microsoft.com/office/drawing/2014/main" id="{C4069D1C-FA47-4D92-93F8-8345E3AA26CB}"/>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1050" name="think-cell Folie" r:id="rId6" imgW="306" imgH="306" progId="TCLayout.ActiveDocument.1">
                  <p:embed/>
                </p:oleObj>
              </mc:Choice>
              <mc:Fallback>
                <p:oleObj name="think-cell Folie" r:id="rId6" imgW="306" imgH="306" progId="TCLayout.ActiveDocument.1">
                  <p:embed/>
                  <p:pic>
                    <p:nvPicPr>
                      <p:cNvPr id="5" name="Objekt 4" hidden="1">
                        <a:extLst>
                          <a:ext uri="{FF2B5EF4-FFF2-40B4-BE49-F238E27FC236}">
                            <a16:creationId xmlns:a16="http://schemas.microsoft.com/office/drawing/2014/main" id="{C4069D1C-FA47-4D92-93F8-8345E3AA26CB}"/>
                          </a:ext>
                        </a:extLst>
                      </p:cNvPr>
                      <p:cNvPicPr/>
                      <p:nvPr/>
                    </p:nvPicPr>
                    <p:blipFill>
                      <a:blip r:embed="rId7"/>
                      <a:stretch>
                        <a:fillRect/>
                      </a:stretch>
                    </p:blipFill>
                    <p:spPr>
                      <a:xfrm>
                        <a:off x="4763" y="1588"/>
                        <a:ext cx="1588" cy="1588"/>
                      </a:xfrm>
                      <a:prstGeom prst="rect">
                        <a:avLst/>
                      </a:prstGeom>
                    </p:spPr>
                  </p:pic>
                </p:oleObj>
              </mc:Fallback>
            </mc:AlternateContent>
          </a:graphicData>
        </a:graphic>
      </p:graphicFrame>
      <p:sp>
        <p:nvSpPr>
          <p:cNvPr id="66" name="Rechteck 65">
            <a:extLst>
              <a:ext uri="{FF2B5EF4-FFF2-40B4-BE49-F238E27FC236}">
                <a16:creationId xmlns:a16="http://schemas.microsoft.com/office/drawing/2014/main" id="{AFE04297-B3D6-4A6C-975E-0083DCE0ACC0}"/>
              </a:ext>
            </a:extLst>
          </p:cNvPr>
          <p:cNvSpPr>
            <a:spLocks/>
          </p:cNvSpPr>
          <p:nvPr/>
        </p:nvSpPr>
        <p:spPr>
          <a:xfrm>
            <a:off x="3174" y="0"/>
            <a:ext cx="7897814" cy="6858000"/>
          </a:xfrm>
          <a:prstGeom prst="rect">
            <a:avLst/>
          </a:prstGeom>
          <a:gradFill>
            <a:gsLst>
              <a:gs pos="0">
                <a:schemeClr val="accent3">
                  <a:alpha val="48000"/>
                </a:schemeClr>
              </a:gs>
              <a:gs pos="100000">
                <a:schemeClr val="accent3">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fontAlgn="auto">
              <a:spcBef>
                <a:spcPts val="0"/>
              </a:spcBef>
              <a:spcAft>
                <a:spcPts val="0"/>
              </a:spcAft>
            </a:pPr>
            <a:endParaRPr lang="en-US" dirty="0">
              <a:solidFill>
                <a:prstClr val="white"/>
              </a:solidFill>
              <a:latin typeface="Arial"/>
            </a:endParaRPr>
          </a:p>
        </p:txBody>
      </p:sp>
      <p:sp>
        <p:nvSpPr>
          <p:cNvPr id="2" name="Titel 1">
            <a:extLst>
              <a:ext uri="{FF2B5EF4-FFF2-40B4-BE49-F238E27FC236}">
                <a16:creationId xmlns:a16="http://schemas.microsoft.com/office/drawing/2014/main" id="{B472460B-BCE8-41E6-BE84-51F64ECDE5B4}"/>
              </a:ext>
            </a:extLst>
          </p:cNvPr>
          <p:cNvSpPr>
            <a:spLocks noGrp="1"/>
          </p:cNvSpPr>
          <p:nvPr>
            <p:ph type="title"/>
          </p:nvPr>
        </p:nvSpPr>
        <p:spPr>
          <a:xfrm>
            <a:off x="414338" y="478800"/>
            <a:ext cx="9863234" cy="576000"/>
          </a:xfrm>
        </p:spPr>
        <p:txBody>
          <a:bodyPr vert="horz"/>
          <a:lstStyle/>
          <a:p>
            <a:r>
              <a:rPr lang="en-US" dirty="0"/>
              <a:t>Challenges of our customers</a:t>
            </a:r>
          </a:p>
        </p:txBody>
      </p:sp>
      <p:sp>
        <p:nvSpPr>
          <p:cNvPr id="3" name="Fußzeilenplatzhalter 2">
            <a:extLst>
              <a:ext uri="{FF2B5EF4-FFF2-40B4-BE49-F238E27FC236}">
                <a16:creationId xmlns:a16="http://schemas.microsoft.com/office/drawing/2014/main" id="{68AE0777-C5D3-4F53-BE8D-0FCB01F51B72}"/>
              </a:ext>
            </a:extLst>
          </p:cNvPr>
          <p:cNvSpPr>
            <a:spLocks noGrp="1"/>
          </p:cNvSpPr>
          <p:nvPr>
            <p:ph type="ftr" sz="quarter" idx="10"/>
          </p:nvPr>
        </p:nvSpPr>
        <p:spPr/>
        <p:txBody>
          <a:bodyPr/>
          <a:lstStyle/>
          <a:p>
            <a:pPr fontAlgn="auto">
              <a:spcBef>
                <a:spcPts val="0"/>
              </a:spcBef>
              <a:spcAft>
                <a:spcPts val="0"/>
              </a:spcAft>
            </a:pPr>
            <a:r>
              <a:rPr lang="en-US">
                <a:solidFill>
                  <a:prstClr val="white"/>
                </a:solidFill>
                <a:latin typeface="Arial"/>
                <a:ea typeface="+mn-ea"/>
              </a:rPr>
              <a:t>Unrestricted | © Siemens 2021 | PlantSight | May 2021</a:t>
            </a:r>
            <a:endParaRPr lang="en-US" dirty="0">
              <a:solidFill>
                <a:prstClr val="white"/>
              </a:solidFill>
              <a:latin typeface="Arial"/>
              <a:ea typeface="+mn-ea"/>
            </a:endParaRPr>
          </a:p>
        </p:txBody>
      </p:sp>
      <p:sp>
        <p:nvSpPr>
          <p:cNvPr id="67" name="Foliennummernplatzhalter 3">
            <a:extLst>
              <a:ext uri="{FF2B5EF4-FFF2-40B4-BE49-F238E27FC236}">
                <a16:creationId xmlns:a16="http://schemas.microsoft.com/office/drawing/2014/main" id="{189F6D8E-7940-41D0-93D2-1F95F1464398}"/>
              </a:ext>
            </a:extLst>
          </p:cNvPr>
          <p:cNvSpPr>
            <a:spLocks noGrp="1"/>
          </p:cNvSpPr>
          <p:nvPr>
            <p:ph type="sldNum" sz="quarter" idx="11"/>
          </p:nvPr>
        </p:nvSpPr>
        <p:spPr>
          <a:xfrm>
            <a:off x="414337" y="6310800"/>
            <a:ext cx="648000" cy="547200"/>
          </a:xfrm>
        </p:spPr>
        <p:txBody>
          <a:bodyPr/>
          <a:lstStyle/>
          <a:p>
            <a:pPr fontAlgn="auto">
              <a:spcBef>
                <a:spcPts val="0"/>
              </a:spcBef>
              <a:spcAft>
                <a:spcPts val="0"/>
              </a:spcAft>
            </a:pPr>
            <a:r>
              <a:rPr lang="en-US" dirty="0">
                <a:solidFill>
                  <a:prstClr val="white"/>
                </a:solidFill>
                <a:latin typeface="Arial"/>
                <a:ea typeface="+mn-ea"/>
              </a:rPr>
              <a:t>Page </a:t>
            </a:r>
            <a:fld id="{15EBE321-CBB1-4E91-BD14-37C8D44326FB}" type="slidenum">
              <a:rPr lang="en-US">
                <a:solidFill>
                  <a:prstClr val="white"/>
                </a:solidFill>
                <a:latin typeface="Arial"/>
                <a:ea typeface="+mn-ea"/>
              </a:rPr>
              <a:pPr fontAlgn="auto">
                <a:spcBef>
                  <a:spcPts val="0"/>
                </a:spcBef>
                <a:spcAft>
                  <a:spcPts val="0"/>
                </a:spcAft>
              </a:pPr>
              <a:t>7</a:t>
            </a:fld>
            <a:endParaRPr lang="en-US" dirty="0">
              <a:solidFill>
                <a:prstClr val="white"/>
              </a:solidFill>
              <a:latin typeface="Arial"/>
              <a:ea typeface="+mn-ea"/>
            </a:endParaRPr>
          </a:p>
        </p:txBody>
      </p:sp>
      <p:grpSp>
        <p:nvGrpSpPr>
          <p:cNvPr id="13" name="Gruppieren 12">
            <a:extLst>
              <a:ext uri="{FF2B5EF4-FFF2-40B4-BE49-F238E27FC236}">
                <a16:creationId xmlns:a16="http://schemas.microsoft.com/office/drawing/2014/main" id="{5A32603C-7F33-4512-90AC-1407ED9989A7}"/>
              </a:ext>
            </a:extLst>
          </p:cNvPr>
          <p:cNvGrpSpPr/>
          <p:nvPr/>
        </p:nvGrpSpPr>
        <p:grpSpPr>
          <a:xfrm>
            <a:off x="8189913" y="1416740"/>
            <a:ext cx="3600450" cy="2874441"/>
            <a:chOff x="8186738" y="1416739"/>
            <a:chExt cx="3600450" cy="2874441"/>
          </a:xfrm>
        </p:grpSpPr>
        <p:sp>
          <p:nvSpPr>
            <p:cNvPr id="14" name="Rechteck 13">
              <a:extLst>
                <a:ext uri="{FF2B5EF4-FFF2-40B4-BE49-F238E27FC236}">
                  <a16:creationId xmlns:a16="http://schemas.microsoft.com/office/drawing/2014/main" id="{4A12957B-11E0-44E0-B0F5-18DEC6A26E44}"/>
                </a:ext>
              </a:extLst>
            </p:cNvPr>
            <p:cNvSpPr/>
            <p:nvPr/>
          </p:nvSpPr>
          <p:spPr>
            <a:xfrm>
              <a:off x="8186738" y="1416739"/>
              <a:ext cx="3600450" cy="2874441"/>
            </a:xfrm>
            <a:prstGeom prst="rect">
              <a:avLst/>
            </a:prstGeom>
            <a:noFill/>
          </p:spPr>
          <p:txBody>
            <a:bodyPr wrap="square" lIns="0" tIns="0" rIns="0" bIns="0">
              <a:spAutoFit/>
            </a:bodyPr>
            <a:lstStyle/>
            <a:p>
              <a:pPr defTabSz="913943">
                <a:lnSpc>
                  <a:spcPct val="110000"/>
                </a:lnSpc>
                <a:spcBef>
                  <a:spcPts val="0"/>
                </a:spcBef>
                <a:spcAft>
                  <a:spcPts val="1800"/>
                </a:spcAft>
                <a:defRPr/>
              </a:pPr>
              <a:r>
                <a:rPr lang="en-US" sz="2999" dirty="0">
                  <a:solidFill>
                    <a:srgbClr val="00D7A0"/>
                  </a:solidFill>
                  <a:latin typeface="Arial Regular"/>
                </a:rPr>
                <a:t>How to manage </a:t>
              </a:r>
              <a:br>
                <a:rPr lang="en-US" sz="2999" dirty="0">
                  <a:solidFill>
                    <a:srgbClr val="00D7A0"/>
                  </a:solidFill>
                  <a:latin typeface="Arial Regular"/>
                </a:rPr>
              </a:br>
              <a:r>
                <a:rPr lang="en-US" sz="2999" dirty="0">
                  <a:solidFill>
                    <a:srgbClr val="FF0000"/>
                  </a:solidFill>
                  <a:latin typeface="Arial Regular"/>
                </a:rPr>
                <a:t>BIG</a:t>
              </a:r>
              <a:r>
                <a:rPr lang="en-US" sz="2999" dirty="0">
                  <a:solidFill>
                    <a:srgbClr val="00D7A0"/>
                  </a:solidFill>
                  <a:latin typeface="Arial Regular"/>
                </a:rPr>
                <a:t> Data?</a:t>
              </a:r>
            </a:p>
            <a:p>
              <a:pPr defTabSz="913943">
                <a:lnSpc>
                  <a:spcPct val="110000"/>
                </a:lnSpc>
                <a:spcBef>
                  <a:spcPts val="0"/>
                </a:spcBef>
                <a:spcAft>
                  <a:spcPts val="1200"/>
                </a:spcAft>
                <a:defRPr/>
              </a:pPr>
              <a:r>
                <a:rPr lang="en-US" sz="1400" dirty="0">
                  <a:solidFill>
                    <a:srgbClr val="00BEDC"/>
                  </a:solidFill>
                  <a:latin typeface="Arial Regular"/>
                </a:rPr>
                <a:t>Unstructured and untagged</a:t>
              </a:r>
              <a:br>
                <a:rPr lang="en-US" sz="1400" dirty="0">
                  <a:solidFill>
                    <a:prstClr val="white"/>
                  </a:solidFill>
                  <a:latin typeface="Arial Regular"/>
                </a:rPr>
              </a:br>
              <a:r>
                <a:rPr lang="en-US" sz="1400" dirty="0">
                  <a:solidFill>
                    <a:prstClr val="white"/>
                  </a:solidFill>
                  <a:latin typeface="Arial Regular"/>
                </a:rPr>
                <a:t>data and documents</a:t>
              </a:r>
            </a:p>
            <a:p>
              <a:pPr defTabSz="913943">
                <a:lnSpc>
                  <a:spcPct val="110000"/>
                </a:lnSpc>
                <a:spcBef>
                  <a:spcPts val="0"/>
                </a:spcBef>
                <a:spcAft>
                  <a:spcPts val="1200"/>
                </a:spcAft>
                <a:defRPr/>
              </a:pPr>
              <a:r>
                <a:rPr lang="en-US" sz="1400" dirty="0">
                  <a:solidFill>
                    <a:srgbClr val="00BEDC"/>
                  </a:solidFill>
                  <a:latin typeface="Arial Regular"/>
                </a:rPr>
                <a:t>Different</a:t>
              </a:r>
              <a:r>
                <a:rPr lang="en-US" sz="1400" dirty="0">
                  <a:solidFill>
                    <a:prstClr val="white"/>
                  </a:solidFill>
                  <a:latin typeface="Arial Regular"/>
                </a:rPr>
                <a:t> data storage locations</a:t>
              </a:r>
            </a:p>
            <a:p>
              <a:pPr defTabSz="913943">
                <a:lnSpc>
                  <a:spcPct val="110000"/>
                </a:lnSpc>
                <a:spcBef>
                  <a:spcPts val="0"/>
                </a:spcBef>
                <a:spcAft>
                  <a:spcPts val="1200"/>
                </a:spcAft>
                <a:defRPr/>
              </a:pPr>
              <a:r>
                <a:rPr lang="en-US" sz="1400" dirty="0">
                  <a:solidFill>
                    <a:srgbClr val="00BEDC"/>
                  </a:solidFill>
                  <a:latin typeface="Arial Regular"/>
                </a:rPr>
                <a:t>Where</a:t>
              </a:r>
              <a:r>
                <a:rPr lang="en-US" sz="1400" dirty="0">
                  <a:solidFill>
                    <a:prstClr val="white"/>
                  </a:solidFill>
                  <a:latin typeface="Arial Regular"/>
                </a:rPr>
                <a:t> is the application? </a:t>
              </a:r>
            </a:p>
            <a:p>
              <a:pPr defTabSz="913943">
                <a:lnSpc>
                  <a:spcPct val="110000"/>
                </a:lnSpc>
                <a:spcBef>
                  <a:spcPts val="0"/>
                </a:spcBef>
                <a:spcAft>
                  <a:spcPts val="1200"/>
                </a:spcAft>
                <a:defRPr/>
              </a:pPr>
              <a:r>
                <a:rPr lang="en-US" sz="1400" dirty="0">
                  <a:solidFill>
                    <a:prstClr val="white"/>
                  </a:solidFill>
                  <a:latin typeface="Arial Regular"/>
                </a:rPr>
                <a:t>Finding </a:t>
              </a:r>
              <a:r>
                <a:rPr lang="en-US" sz="1400" dirty="0">
                  <a:solidFill>
                    <a:srgbClr val="00BEDC"/>
                  </a:solidFill>
                  <a:latin typeface="Arial Regular"/>
                </a:rPr>
                <a:t>current</a:t>
              </a:r>
              <a:r>
                <a:rPr lang="en-US" sz="1400" dirty="0">
                  <a:solidFill>
                    <a:prstClr val="white"/>
                  </a:solidFill>
                  <a:latin typeface="Arial Regular"/>
                </a:rPr>
                <a:t> and </a:t>
              </a:r>
              <a:r>
                <a:rPr lang="en-US" sz="1400" dirty="0">
                  <a:solidFill>
                    <a:srgbClr val="00BEDC"/>
                  </a:solidFill>
                  <a:latin typeface="Arial Regular"/>
                </a:rPr>
                <a:t>valid</a:t>
              </a:r>
              <a:r>
                <a:rPr lang="en-US" sz="1400" dirty="0">
                  <a:solidFill>
                    <a:prstClr val="white"/>
                  </a:solidFill>
                  <a:latin typeface="Arial Regular"/>
                </a:rPr>
                <a:t> status </a:t>
              </a:r>
            </a:p>
          </p:txBody>
        </p:sp>
        <p:cxnSp>
          <p:nvCxnSpPr>
            <p:cNvPr id="15" name="Gerader Verbinder 14">
              <a:extLst>
                <a:ext uri="{FF2B5EF4-FFF2-40B4-BE49-F238E27FC236}">
                  <a16:creationId xmlns:a16="http://schemas.microsoft.com/office/drawing/2014/main" id="{59002A0C-3752-41CC-91F4-8CE00D33F7C5}"/>
                </a:ext>
              </a:extLst>
            </p:cNvPr>
            <p:cNvCxnSpPr/>
            <p:nvPr/>
          </p:nvCxnSpPr>
          <p:spPr>
            <a:xfrm>
              <a:off x="8186738" y="2497807"/>
              <a:ext cx="343044" cy="0"/>
            </a:xfrm>
            <a:prstGeom prst="line">
              <a:avLst/>
            </a:prstGeom>
            <a:ln w="9525">
              <a:solidFill>
                <a:schemeClr val="tx1">
                  <a:alpha val="25000"/>
                </a:schemeClr>
              </a:solidFill>
              <a:headEnd w="lg" len="lg"/>
              <a:tailEnd type="non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305560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1CB6472D-E668-4413-B304-902B8D0DEDE2}"/>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2074" name="think-cell Folie" r:id="rId5" imgW="306" imgH="306" progId="TCLayout.ActiveDocument.1">
                  <p:embed/>
                </p:oleObj>
              </mc:Choice>
              <mc:Fallback>
                <p:oleObj name="think-cell Folie" r:id="rId5" imgW="306" imgH="306" progId="TCLayout.ActiveDocument.1">
                  <p:embed/>
                  <p:pic>
                    <p:nvPicPr>
                      <p:cNvPr id="22" name="Objekt 21" hidden="1">
                        <a:extLst>
                          <a:ext uri="{FF2B5EF4-FFF2-40B4-BE49-F238E27FC236}">
                            <a16:creationId xmlns:a16="http://schemas.microsoft.com/office/drawing/2014/main" id="{1CB6472D-E668-4413-B304-902B8D0DEDE2}"/>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113EF4-609F-4F21-B461-6559D930E59B}"/>
              </a:ext>
            </a:extLst>
          </p:cNvPr>
          <p:cNvSpPr>
            <a:spLocks noGrp="1"/>
          </p:cNvSpPr>
          <p:nvPr>
            <p:ph type="title"/>
          </p:nvPr>
        </p:nvSpPr>
        <p:spPr/>
        <p:txBody>
          <a:bodyPr vert="horz"/>
          <a:lstStyle/>
          <a:p>
            <a:r>
              <a:rPr lang="en-US" dirty="0"/>
              <a:t>A digital representation that provides </a:t>
            </a:r>
            <a:br>
              <a:rPr lang="en-US" dirty="0"/>
            </a:br>
            <a:r>
              <a:rPr lang="en-US" dirty="0"/>
              <a:t>an immersive view of reality </a:t>
            </a:r>
          </a:p>
        </p:txBody>
      </p:sp>
      <p:sp>
        <p:nvSpPr>
          <p:cNvPr id="3" name="Fußzeilenplatzhalter 2">
            <a:extLst>
              <a:ext uri="{FF2B5EF4-FFF2-40B4-BE49-F238E27FC236}">
                <a16:creationId xmlns:a16="http://schemas.microsoft.com/office/drawing/2014/main" id="{D3B27873-EFB7-4C63-B037-EE916BA925AE}"/>
              </a:ext>
            </a:extLst>
          </p:cNvPr>
          <p:cNvSpPr>
            <a:spLocks noGrp="1"/>
          </p:cNvSpPr>
          <p:nvPr>
            <p:ph type="ftr" sz="quarter" idx="10"/>
          </p:nvPr>
        </p:nvSpPr>
        <p:spPr/>
        <p:txBody>
          <a:bodyPr/>
          <a:lstStyle/>
          <a:p>
            <a:pPr fontAlgn="auto">
              <a:spcBef>
                <a:spcPts val="0"/>
              </a:spcBef>
              <a:spcAft>
                <a:spcPts val="0"/>
              </a:spcAft>
            </a:pPr>
            <a:r>
              <a:rPr lang="en-US">
                <a:solidFill>
                  <a:prstClr val="white"/>
                </a:solidFill>
                <a:latin typeface="Arial"/>
                <a:ea typeface="+mn-ea"/>
              </a:rPr>
              <a:t>Unrestricted | © Siemens 2021 | PlantSight | May 2021</a:t>
            </a:r>
            <a:endParaRPr lang="en-US" dirty="0">
              <a:solidFill>
                <a:prstClr val="white"/>
              </a:solidFill>
              <a:latin typeface="Arial"/>
              <a:ea typeface="+mn-ea"/>
            </a:endParaRPr>
          </a:p>
        </p:txBody>
      </p:sp>
      <p:sp>
        <p:nvSpPr>
          <p:cNvPr id="4" name="Foliennummernplatzhalter 3">
            <a:extLst>
              <a:ext uri="{FF2B5EF4-FFF2-40B4-BE49-F238E27FC236}">
                <a16:creationId xmlns:a16="http://schemas.microsoft.com/office/drawing/2014/main" id="{A568CF39-0B82-4C28-8B49-3EAFF684BF15}"/>
              </a:ext>
            </a:extLst>
          </p:cNvPr>
          <p:cNvSpPr>
            <a:spLocks noGrp="1"/>
          </p:cNvSpPr>
          <p:nvPr>
            <p:ph type="sldNum" sz="quarter" idx="11"/>
          </p:nvPr>
        </p:nvSpPr>
        <p:spPr/>
        <p:txBody>
          <a:bodyPr/>
          <a:lstStyle/>
          <a:p>
            <a:pPr fontAlgn="auto">
              <a:spcBef>
                <a:spcPts val="0"/>
              </a:spcBef>
              <a:spcAft>
                <a:spcPts val="0"/>
              </a:spcAft>
            </a:pPr>
            <a:r>
              <a:rPr lang="en-US" dirty="0">
                <a:solidFill>
                  <a:prstClr val="white"/>
                </a:solidFill>
                <a:latin typeface="Arial"/>
                <a:ea typeface="+mn-ea"/>
              </a:rPr>
              <a:t>Page </a:t>
            </a:r>
            <a:fld id="{15EBE321-CBB1-4E91-BD14-37C8D44326FB}" type="slidenum">
              <a:rPr lang="en-US">
                <a:solidFill>
                  <a:prstClr val="white"/>
                </a:solidFill>
                <a:latin typeface="Arial"/>
                <a:ea typeface="+mn-ea"/>
              </a:rPr>
              <a:pPr fontAlgn="auto">
                <a:spcBef>
                  <a:spcPts val="0"/>
                </a:spcBef>
                <a:spcAft>
                  <a:spcPts val="0"/>
                </a:spcAft>
              </a:pPr>
              <a:t>8</a:t>
            </a:fld>
            <a:endParaRPr lang="en-US" dirty="0">
              <a:solidFill>
                <a:prstClr val="white"/>
              </a:solidFill>
              <a:latin typeface="Arial"/>
              <a:ea typeface="+mn-ea"/>
            </a:endParaRPr>
          </a:p>
        </p:txBody>
      </p:sp>
      <p:sp>
        <p:nvSpPr>
          <p:cNvPr id="12" name="Textfeld 11">
            <a:extLst>
              <a:ext uri="{FF2B5EF4-FFF2-40B4-BE49-F238E27FC236}">
                <a16:creationId xmlns:a16="http://schemas.microsoft.com/office/drawing/2014/main" id="{C913D8DD-82FC-4FA8-AACE-9BB877D17487}"/>
              </a:ext>
            </a:extLst>
          </p:cNvPr>
          <p:cNvSpPr txBox="1"/>
          <p:nvPr/>
        </p:nvSpPr>
        <p:spPr>
          <a:xfrm>
            <a:off x="3054350" y="3271830"/>
            <a:ext cx="6096000" cy="677878"/>
          </a:xfrm>
          <a:prstGeom prst="rect">
            <a:avLst/>
          </a:prstGeom>
          <a:noFill/>
        </p:spPr>
        <p:txBody>
          <a:bodyPr wrap="square" anchor="ctr">
            <a:spAutoFit/>
          </a:bodyPr>
          <a:lstStyle/>
          <a:p>
            <a:pPr algn="ctr" defTabSz="913943">
              <a:lnSpc>
                <a:spcPct val="110000"/>
              </a:lnSpc>
              <a:spcBef>
                <a:spcPct val="0"/>
              </a:spcBef>
              <a:defRPr/>
            </a:pPr>
            <a:r>
              <a:rPr lang="en-US" sz="1799" b="1" dirty="0">
                <a:solidFill>
                  <a:srgbClr val="9999A9"/>
                </a:solidFill>
              </a:rPr>
              <a:t>Identical</a:t>
            </a:r>
            <a:br>
              <a:rPr lang="en-US" sz="1799" b="1" dirty="0">
                <a:solidFill>
                  <a:srgbClr val="9999A9"/>
                </a:solidFill>
              </a:rPr>
            </a:br>
            <a:r>
              <a:rPr lang="en-US" sz="1799" b="1" dirty="0">
                <a:solidFill>
                  <a:srgbClr val="9999A9"/>
                </a:solidFill>
              </a:rPr>
              <a:t>twins</a:t>
            </a:r>
          </a:p>
        </p:txBody>
      </p:sp>
      <p:sp>
        <p:nvSpPr>
          <p:cNvPr id="15" name="Freihandform: Form 14">
            <a:extLst>
              <a:ext uri="{FF2B5EF4-FFF2-40B4-BE49-F238E27FC236}">
                <a16:creationId xmlns:a16="http://schemas.microsoft.com/office/drawing/2014/main" id="{672E29A7-7EEF-44B0-A104-9D9B74BA7CA8}"/>
              </a:ext>
            </a:extLst>
          </p:cNvPr>
          <p:cNvSpPr/>
          <p:nvPr/>
        </p:nvSpPr>
        <p:spPr>
          <a:xfrm rot="5400000">
            <a:off x="5093058" y="3480621"/>
            <a:ext cx="441362" cy="260296"/>
          </a:xfrm>
          <a:custGeom>
            <a:avLst/>
            <a:gdLst>
              <a:gd name="connsiteX0" fmla="*/ 710419 w 710419"/>
              <a:gd name="connsiteY0" fmla="*/ 72861 h 418975"/>
              <a:gd name="connsiteX1" fmla="*/ 637558 w 710419"/>
              <a:gd name="connsiteY1" fmla="*/ 0 h 418975"/>
              <a:gd name="connsiteX2" fmla="*/ 355209 w 710419"/>
              <a:gd name="connsiteY2" fmla="*/ 236878 h 418975"/>
              <a:gd name="connsiteX3" fmla="*/ 72861 w 710419"/>
              <a:gd name="connsiteY3" fmla="*/ 0 h 418975"/>
              <a:gd name="connsiteX4" fmla="*/ 0 w 710419"/>
              <a:gd name="connsiteY4" fmla="*/ 72861 h 418975"/>
              <a:gd name="connsiteX5" fmla="*/ 355209 w 710419"/>
              <a:gd name="connsiteY5" fmla="*/ 418976 h 418975"/>
              <a:gd name="connsiteX6" fmla="*/ 710419 w 710419"/>
              <a:gd name="connsiteY6" fmla="*/ 72861 h 4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419" h="418975">
                <a:moveTo>
                  <a:pt x="710419" y="72861"/>
                </a:moveTo>
                <a:lnTo>
                  <a:pt x="637558" y="0"/>
                </a:lnTo>
                <a:lnTo>
                  <a:pt x="355209" y="236878"/>
                </a:lnTo>
                <a:lnTo>
                  <a:pt x="72861" y="0"/>
                </a:lnTo>
                <a:lnTo>
                  <a:pt x="0" y="72861"/>
                </a:lnTo>
                <a:lnTo>
                  <a:pt x="355209" y="418976"/>
                </a:lnTo>
                <a:lnTo>
                  <a:pt x="710419" y="72861"/>
                </a:lnTo>
                <a:close/>
              </a:path>
            </a:pathLst>
          </a:custGeom>
          <a:solidFill>
            <a:srgbClr val="66667E"/>
          </a:solidFill>
          <a:ln w="3579" cap="flat">
            <a:noFill/>
            <a:prstDash val="solid"/>
            <a:miter/>
          </a:ln>
        </p:spPr>
        <p:txBody>
          <a:bodyPr rtlCol="0" anchor="ctr"/>
          <a:lstStyle/>
          <a:p>
            <a:pPr fontAlgn="auto">
              <a:spcBef>
                <a:spcPts val="0"/>
              </a:spcBef>
              <a:spcAft>
                <a:spcPts val="0"/>
              </a:spcAft>
            </a:pPr>
            <a:endParaRPr lang="en-US" dirty="0">
              <a:solidFill>
                <a:prstClr val="white"/>
              </a:solidFill>
              <a:latin typeface="Arial"/>
              <a:ea typeface="+mn-ea"/>
            </a:endParaRPr>
          </a:p>
        </p:txBody>
      </p:sp>
      <p:sp>
        <p:nvSpPr>
          <p:cNvPr id="16" name="Freihandform: Form 15">
            <a:extLst>
              <a:ext uri="{FF2B5EF4-FFF2-40B4-BE49-F238E27FC236}">
                <a16:creationId xmlns:a16="http://schemas.microsoft.com/office/drawing/2014/main" id="{7B240241-311A-4230-8DF4-F4AC37DEFC8C}"/>
              </a:ext>
            </a:extLst>
          </p:cNvPr>
          <p:cNvSpPr/>
          <p:nvPr/>
        </p:nvSpPr>
        <p:spPr>
          <a:xfrm rot="16200000" flipH="1">
            <a:off x="6670280" y="3480622"/>
            <a:ext cx="441362" cy="260296"/>
          </a:xfrm>
          <a:custGeom>
            <a:avLst/>
            <a:gdLst>
              <a:gd name="connsiteX0" fmla="*/ 710419 w 710419"/>
              <a:gd name="connsiteY0" fmla="*/ 72861 h 418975"/>
              <a:gd name="connsiteX1" fmla="*/ 637558 w 710419"/>
              <a:gd name="connsiteY1" fmla="*/ 0 h 418975"/>
              <a:gd name="connsiteX2" fmla="*/ 355209 w 710419"/>
              <a:gd name="connsiteY2" fmla="*/ 236878 h 418975"/>
              <a:gd name="connsiteX3" fmla="*/ 72861 w 710419"/>
              <a:gd name="connsiteY3" fmla="*/ 0 h 418975"/>
              <a:gd name="connsiteX4" fmla="*/ 0 w 710419"/>
              <a:gd name="connsiteY4" fmla="*/ 72861 h 418975"/>
              <a:gd name="connsiteX5" fmla="*/ 355209 w 710419"/>
              <a:gd name="connsiteY5" fmla="*/ 418976 h 418975"/>
              <a:gd name="connsiteX6" fmla="*/ 710419 w 710419"/>
              <a:gd name="connsiteY6" fmla="*/ 72861 h 418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0419" h="418975">
                <a:moveTo>
                  <a:pt x="710419" y="72861"/>
                </a:moveTo>
                <a:lnTo>
                  <a:pt x="637558" y="0"/>
                </a:lnTo>
                <a:lnTo>
                  <a:pt x="355209" y="236878"/>
                </a:lnTo>
                <a:lnTo>
                  <a:pt x="72861" y="0"/>
                </a:lnTo>
                <a:lnTo>
                  <a:pt x="0" y="72861"/>
                </a:lnTo>
                <a:lnTo>
                  <a:pt x="355209" y="418976"/>
                </a:lnTo>
                <a:lnTo>
                  <a:pt x="710419" y="72861"/>
                </a:lnTo>
                <a:close/>
              </a:path>
            </a:pathLst>
          </a:custGeom>
          <a:solidFill>
            <a:srgbClr val="66667E"/>
          </a:solidFill>
          <a:ln w="3579" cap="flat">
            <a:noFill/>
            <a:prstDash val="solid"/>
            <a:miter/>
          </a:ln>
        </p:spPr>
        <p:txBody>
          <a:bodyPr rtlCol="0" anchor="ctr"/>
          <a:lstStyle/>
          <a:p>
            <a:pPr fontAlgn="auto">
              <a:spcBef>
                <a:spcPts val="0"/>
              </a:spcBef>
              <a:spcAft>
                <a:spcPts val="0"/>
              </a:spcAft>
            </a:pPr>
            <a:endParaRPr lang="en-US" dirty="0">
              <a:solidFill>
                <a:prstClr val="white"/>
              </a:solidFill>
              <a:latin typeface="Arial"/>
              <a:ea typeface="+mn-ea"/>
            </a:endParaRPr>
          </a:p>
        </p:txBody>
      </p:sp>
      <p:sp>
        <p:nvSpPr>
          <p:cNvPr id="19" name="Textfeld 18">
            <a:extLst>
              <a:ext uri="{FF2B5EF4-FFF2-40B4-BE49-F238E27FC236}">
                <a16:creationId xmlns:a16="http://schemas.microsoft.com/office/drawing/2014/main" id="{C3AFECC8-9ACF-4EC4-8CF1-95341875940A}"/>
              </a:ext>
            </a:extLst>
          </p:cNvPr>
          <p:cNvSpPr txBox="1"/>
          <p:nvPr/>
        </p:nvSpPr>
        <p:spPr>
          <a:xfrm>
            <a:off x="4297362" y="4090279"/>
            <a:ext cx="3603626" cy="1157112"/>
          </a:xfrm>
          <a:prstGeom prst="rect">
            <a:avLst/>
          </a:prstGeom>
          <a:noFill/>
        </p:spPr>
        <p:txBody>
          <a:bodyPr wrap="square">
            <a:spAutoFit/>
          </a:bodyPr>
          <a:lstStyle/>
          <a:p>
            <a:pPr algn="ctr" defTabSz="913943">
              <a:lnSpc>
                <a:spcPct val="110000"/>
              </a:lnSpc>
              <a:spcBef>
                <a:spcPct val="0"/>
              </a:spcBef>
              <a:defRPr/>
            </a:pPr>
            <a:r>
              <a:rPr lang="en-US" b="1" dirty="0">
                <a:solidFill>
                  <a:prstClr val="white"/>
                </a:solidFill>
              </a:rPr>
              <a:t>Identical data for</a:t>
            </a:r>
            <a:br>
              <a:rPr lang="en-US" b="1" dirty="0">
                <a:solidFill>
                  <a:prstClr val="white"/>
                </a:solidFill>
              </a:rPr>
            </a:br>
            <a:r>
              <a:rPr lang="en-US" b="1" i="1" dirty="0">
                <a:solidFill>
                  <a:prstClr val="white"/>
                </a:solidFill>
              </a:rPr>
              <a:t>all </a:t>
            </a:r>
            <a:r>
              <a:rPr lang="en-US" b="1" dirty="0">
                <a:solidFill>
                  <a:prstClr val="white"/>
                </a:solidFill>
              </a:rPr>
              <a:t>lifecycle phases</a:t>
            </a:r>
            <a:br>
              <a:rPr lang="en-US" b="1" dirty="0">
                <a:solidFill>
                  <a:prstClr val="white"/>
                </a:solidFill>
              </a:rPr>
            </a:br>
            <a:r>
              <a:rPr lang="en-US" sz="1399" spc="150" dirty="0">
                <a:solidFill>
                  <a:prstClr val="white"/>
                </a:solidFill>
                <a:ea typeface="+mn-ea"/>
                <a:cs typeface="Arial" panose="020B0604020202020204" pitchFamily="34" charset="0"/>
              </a:rPr>
              <a:t>One data model on all levels, consistency in communications</a:t>
            </a:r>
          </a:p>
        </p:txBody>
      </p:sp>
      <p:grpSp>
        <p:nvGrpSpPr>
          <p:cNvPr id="25" name="Gruppieren 24">
            <a:extLst>
              <a:ext uri="{FF2B5EF4-FFF2-40B4-BE49-F238E27FC236}">
                <a16:creationId xmlns:a16="http://schemas.microsoft.com/office/drawing/2014/main" id="{DCAAF074-17A9-4FA7-9AEB-D154E8FF494B}"/>
              </a:ext>
            </a:extLst>
          </p:cNvPr>
          <p:cNvGrpSpPr/>
          <p:nvPr/>
        </p:nvGrpSpPr>
        <p:grpSpPr>
          <a:xfrm>
            <a:off x="414338" y="1414463"/>
            <a:ext cx="4392612" cy="4392612"/>
            <a:chOff x="411163" y="1414463"/>
            <a:chExt cx="4392612" cy="4392612"/>
          </a:xfrm>
        </p:grpSpPr>
        <p:sp>
          <p:nvSpPr>
            <p:cNvPr id="5" name="Oval 87">
              <a:extLst>
                <a:ext uri="{FF2B5EF4-FFF2-40B4-BE49-F238E27FC236}">
                  <a16:creationId xmlns:a16="http://schemas.microsoft.com/office/drawing/2014/main" id="{398E0DAE-808A-4681-9F42-6C2EAD913ACC}"/>
                </a:ext>
              </a:extLst>
            </p:cNvPr>
            <p:cNvSpPr>
              <a:spLocks/>
            </p:cNvSpPr>
            <p:nvPr/>
          </p:nvSpPr>
          <p:spPr bwMode="auto">
            <a:xfrm>
              <a:off x="625475" y="1628775"/>
              <a:ext cx="3963988" cy="3963988"/>
            </a:xfrm>
            <a:prstGeom prst="ellipse">
              <a:avLst/>
            </a:prstGeom>
            <a:gradFill>
              <a:gsLst>
                <a:gs pos="0">
                  <a:srgbClr val="333353"/>
                </a:gs>
                <a:gs pos="100000">
                  <a:srgbClr val="333353">
                    <a:alpha val="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fontAlgn="auto">
                <a:spcBef>
                  <a:spcPts val="0"/>
                </a:spcBef>
                <a:spcAft>
                  <a:spcPts val="1200"/>
                </a:spcAft>
              </a:pPr>
              <a:endParaRPr lang="en-US" sz="1400" dirty="0">
                <a:solidFill>
                  <a:srgbClr val="00D7A0"/>
                </a:solidFill>
                <a:latin typeface="Arial Regular"/>
                <a:ea typeface="ＭＳ Ｐゴシック" charset="-128"/>
              </a:endParaRPr>
            </a:p>
          </p:txBody>
        </p:sp>
        <p:sp>
          <p:nvSpPr>
            <p:cNvPr id="8" name="Rechteck 7">
              <a:extLst>
                <a:ext uri="{FF2B5EF4-FFF2-40B4-BE49-F238E27FC236}">
                  <a16:creationId xmlns:a16="http://schemas.microsoft.com/office/drawing/2014/main" id="{BA60DC42-AD20-4BD1-BFA1-352A01BB4816}"/>
                </a:ext>
              </a:extLst>
            </p:cNvPr>
            <p:cNvSpPr>
              <a:spLocks/>
            </p:cNvSpPr>
            <p:nvPr/>
          </p:nvSpPr>
          <p:spPr bwMode="auto">
            <a:xfrm>
              <a:off x="1690872" y="4475504"/>
              <a:ext cx="1833194" cy="38779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lIns="0" tIns="0" rIns="0" bIns="0" numCol="1" spcCol="72000" rtlCol="0" anchor="ctr">
              <a:spAutoFit/>
            </a:bodyPr>
            <a:lstStyle>
              <a:defPPr>
                <a:defRPr lang="cs-CZ"/>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Bef>
                  <a:spcPct val="0"/>
                </a:spcBef>
                <a:defRPr/>
              </a:pPr>
              <a:r>
                <a:rPr lang="en-US" sz="2800">
                  <a:solidFill>
                    <a:prstClr val="white"/>
                  </a:solidFill>
                  <a:latin typeface="Arial" panose="020B0604020202020204" pitchFamily="34" charset="0"/>
                  <a:ea typeface="Arial" panose="020B0604020202020204" pitchFamily="34" charset="-128"/>
                  <a:cs typeface="Arial" panose="020B0604020202020204" pitchFamily="34" charset="0"/>
                </a:rPr>
                <a:t>Digital Twin</a:t>
              </a:r>
              <a:endParaRPr lang="en-US" sz="2800" dirty="0">
                <a:solidFill>
                  <a:prstClr val="white"/>
                </a:solidFill>
                <a:latin typeface="Arial" panose="020B0604020202020204" pitchFamily="34" charset="0"/>
                <a:ea typeface="Arial" panose="020B0604020202020204" pitchFamily="34" charset="-128"/>
                <a:cs typeface="Arial" panose="020B0604020202020204" pitchFamily="34" charset="0"/>
              </a:endParaRPr>
            </a:p>
          </p:txBody>
        </p:sp>
        <p:sp>
          <p:nvSpPr>
            <p:cNvPr id="23" name="Oval 87">
              <a:extLst>
                <a:ext uri="{FF2B5EF4-FFF2-40B4-BE49-F238E27FC236}">
                  <a16:creationId xmlns:a16="http://schemas.microsoft.com/office/drawing/2014/main" id="{C1F59956-2E64-47DE-8C07-F44F80B3F77C}"/>
                </a:ext>
              </a:extLst>
            </p:cNvPr>
            <p:cNvSpPr>
              <a:spLocks/>
            </p:cNvSpPr>
            <p:nvPr/>
          </p:nvSpPr>
          <p:spPr bwMode="auto">
            <a:xfrm>
              <a:off x="411163" y="1414463"/>
              <a:ext cx="4392612" cy="4392612"/>
            </a:xfrm>
            <a:prstGeom prst="ellipse">
              <a:avLst/>
            </a:prstGeom>
            <a:noFill/>
            <a:ln w="57150">
              <a:solidFill>
                <a:srgbClr val="00FFB9"/>
              </a:solidFill>
            </a:ln>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fontAlgn="auto">
                <a:spcBef>
                  <a:spcPts val="0"/>
                </a:spcBef>
                <a:spcAft>
                  <a:spcPts val="1200"/>
                </a:spcAft>
              </a:pPr>
              <a:endParaRPr lang="en-US" sz="1400" dirty="0">
                <a:solidFill>
                  <a:srgbClr val="00D7A0"/>
                </a:solidFill>
                <a:latin typeface="Arial Regular"/>
                <a:ea typeface="ＭＳ Ｐゴシック" charset="-128"/>
              </a:endParaRPr>
            </a:p>
          </p:txBody>
        </p:sp>
      </p:grpSp>
      <p:sp>
        <p:nvSpPr>
          <p:cNvPr id="6" name="Oval 88">
            <a:extLst>
              <a:ext uri="{FF2B5EF4-FFF2-40B4-BE49-F238E27FC236}">
                <a16:creationId xmlns:a16="http://schemas.microsoft.com/office/drawing/2014/main" id="{0530E82B-2DBB-4CA9-82A1-D9FE0AD62119}"/>
              </a:ext>
            </a:extLst>
          </p:cNvPr>
          <p:cNvSpPr>
            <a:spLocks/>
          </p:cNvSpPr>
          <p:nvPr/>
        </p:nvSpPr>
        <p:spPr bwMode="auto">
          <a:xfrm flipH="1">
            <a:off x="7612063" y="1628775"/>
            <a:ext cx="3963988" cy="3963988"/>
          </a:xfrm>
          <a:prstGeom prst="ellipse">
            <a:avLst/>
          </a:prstGeom>
          <a:gradFill>
            <a:gsLst>
              <a:gs pos="0">
                <a:srgbClr val="333353"/>
              </a:gs>
              <a:gs pos="100000">
                <a:srgbClr val="333353">
                  <a:alpha val="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fontAlgn="auto">
              <a:spcBef>
                <a:spcPts val="0"/>
              </a:spcBef>
              <a:spcAft>
                <a:spcPts val="1200"/>
              </a:spcAft>
            </a:pPr>
            <a:endParaRPr lang="en-US" sz="1400" dirty="0">
              <a:solidFill>
                <a:srgbClr val="00D7A0"/>
              </a:solidFill>
              <a:latin typeface="Arial Regular"/>
              <a:ea typeface="ＭＳ Ｐゴシック" charset="-128"/>
            </a:endParaRPr>
          </a:p>
        </p:txBody>
      </p:sp>
      <p:sp>
        <p:nvSpPr>
          <p:cNvPr id="9" name="Rechteck 8">
            <a:extLst>
              <a:ext uri="{FF2B5EF4-FFF2-40B4-BE49-F238E27FC236}">
                <a16:creationId xmlns:a16="http://schemas.microsoft.com/office/drawing/2014/main" id="{29FA0C8A-1F1D-45A9-9886-D33F9F7A9E24}"/>
              </a:ext>
            </a:extLst>
          </p:cNvPr>
          <p:cNvSpPr>
            <a:spLocks/>
          </p:cNvSpPr>
          <p:nvPr/>
        </p:nvSpPr>
        <p:spPr bwMode="auto">
          <a:xfrm>
            <a:off x="8697210" y="4475504"/>
            <a:ext cx="1793697" cy="38779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lIns="0" tIns="0" rIns="0" bIns="0" numCol="1" spcCol="72000" rtlCol="0" anchor="ctr">
            <a:spAutoFit/>
          </a:bodyPr>
          <a:lstStyle>
            <a:defPPr>
              <a:defRPr lang="cs-CZ"/>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Bef>
                <a:spcPct val="0"/>
              </a:spcBef>
              <a:defRPr/>
            </a:pPr>
            <a:r>
              <a:rPr lang="en-US" sz="2800">
                <a:solidFill>
                  <a:prstClr val="white"/>
                </a:solidFill>
                <a:latin typeface="Arial" panose="020B0604020202020204" pitchFamily="34" charset="0"/>
                <a:ea typeface="Arial" panose="020B0604020202020204" pitchFamily="34" charset="-128"/>
                <a:cs typeface="Arial" panose="020B0604020202020204" pitchFamily="34" charset="0"/>
              </a:rPr>
              <a:t>Real-World</a:t>
            </a:r>
            <a:endParaRPr lang="en-US" sz="2800" dirty="0">
              <a:solidFill>
                <a:prstClr val="white"/>
              </a:solidFill>
              <a:latin typeface="Arial" panose="020B0604020202020204" pitchFamily="34" charset="0"/>
              <a:ea typeface="Arial" panose="020B0604020202020204" pitchFamily="34" charset="-128"/>
              <a:cs typeface="Arial" panose="020B0604020202020204" pitchFamily="34" charset="0"/>
            </a:endParaRPr>
          </a:p>
        </p:txBody>
      </p:sp>
      <p:sp>
        <p:nvSpPr>
          <p:cNvPr id="24" name="Oval 88">
            <a:extLst>
              <a:ext uri="{FF2B5EF4-FFF2-40B4-BE49-F238E27FC236}">
                <a16:creationId xmlns:a16="http://schemas.microsoft.com/office/drawing/2014/main" id="{DFD18F37-6411-4777-A7DB-F5314A8FCF08}"/>
              </a:ext>
            </a:extLst>
          </p:cNvPr>
          <p:cNvSpPr>
            <a:spLocks/>
          </p:cNvSpPr>
          <p:nvPr/>
        </p:nvSpPr>
        <p:spPr bwMode="auto">
          <a:xfrm flipH="1">
            <a:off x="7397751" y="1414463"/>
            <a:ext cx="4392612" cy="4392612"/>
          </a:xfrm>
          <a:prstGeom prst="ellipse">
            <a:avLst/>
          </a:prstGeom>
          <a:noFill/>
          <a:ln w="57150">
            <a:solidFill>
              <a:srgbClr val="00E6DC"/>
            </a:solidFill>
          </a:ln>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fontAlgn="auto">
              <a:spcBef>
                <a:spcPts val="0"/>
              </a:spcBef>
              <a:spcAft>
                <a:spcPts val="1200"/>
              </a:spcAft>
            </a:pPr>
            <a:endParaRPr lang="en-US" sz="1400" dirty="0">
              <a:solidFill>
                <a:srgbClr val="00D7A0"/>
              </a:solidFill>
              <a:latin typeface="Arial Regular"/>
              <a:ea typeface="ＭＳ Ｐゴシック" charset="-128"/>
            </a:endParaRPr>
          </a:p>
        </p:txBody>
      </p:sp>
      <p:pic>
        <p:nvPicPr>
          <p:cNvPr id="26" name="Grafik 25" descr="Ein Bild, das Spielzeug enthält.&#10;&#10;Automatisch generierte Beschreibung">
            <a:extLst>
              <a:ext uri="{FF2B5EF4-FFF2-40B4-BE49-F238E27FC236}">
                <a16:creationId xmlns:a16="http://schemas.microsoft.com/office/drawing/2014/main" id="{0CB589DE-010A-464E-B943-ED71155E171E}"/>
              </a:ext>
            </a:extLst>
          </p:cNvPr>
          <p:cNvPicPr>
            <a:picLocks noChangeAspect="1"/>
          </p:cNvPicPr>
          <p:nvPr/>
        </p:nvPicPr>
        <p:blipFill>
          <a:blip r:embed="rId7"/>
          <a:stretch>
            <a:fillRect/>
          </a:stretch>
        </p:blipFill>
        <p:spPr>
          <a:xfrm>
            <a:off x="898761" y="1790143"/>
            <a:ext cx="3423766" cy="3423764"/>
          </a:xfrm>
          <a:prstGeom prst="rect">
            <a:avLst/>
          </a:prstGeom>
        </p:spPr>
      </p:pic>
      <p:pic>
        <p:nvPicPr>
          <p:cNvPr id="27" name="Grafik 26">
            <a:extLst>
              <a:ext uri="{FF2B5EF4-FFF2-40B4-BE49-F238E27FC236}">
                <a16:creationId xmlns:a16="http://schemas.microsoft.com/office/drawing/2014/main" id="{F1728BBC-B23C-426C-BEF4-17EF949E5D53}"/>
              </a:ext>
            </a:extLst>
          </p:cNvPr>
          <p:cNvPicPr>
            <a:picLocks noChangeAspect="1"/>
          </p:cNvPicPr>
          <p:nvPr/>
        </p:nvPicPr>
        <p:blipFill>
          <a:blip r:embed="rId8"/>
          <a:stretch>
            <a:fillRect/>
          </a:stretch>
        </p:blipFill>
        <p:spPr>
          <a:xfrm>
            <a:off x="7882174" y="1790143"/>
            <a:ext cx="3423766" cy="3423764"/>
          </a:xfrm>
          <a:prstGeom prst="rect">
            <a:avLst/>
          </a:prstGeom>
        </p:spPr>
      </p:pic>
    </p:spTree>
    <p:extLst>
      <p:ext uri="{BB962C8B-B14F-4D97-AF65-F5344CB8AC3E}">
        <p14:creationId xmlns:p14="http://schemas.microsoft.com/office/powerpoint/2010/main" val="32500452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kt 66" hidden="1">
            <a:extLst>
              <a:ext uri="{FF2B5EF4-FFF2-40B4-BE49-F238E27FC236}">
                <a16:creationId xmlns:a16="http://schemas.microsoft.com/office/drawing/2014/main" id="{4AEEE53D-1E55-454A-8D25-E84FE322071F}"/>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74122" name="think-cell Folie" r:id="rId5" imgW="306" imgH="306" progId="TCLayout.ActiveDocument.1">
                  <p:embed/>
                </p:oleObj>
              </mc:Choice>
              <mc:Fallback>
                <p:oleObj name="think-cell Folie" r:id="rId5" imgW="306" imgH="306" progId="TCLayout.ActiveDocument.1">
                  <p:embed/>
                  <p:pic>
                    <p:nvPicPr>
                      <p:cNvPr id="67" name="Objekt 66" hidden="1">
                        <a:extLst>
                          <a:ext uri="{FF2B5EF4-FFF2-40B4-BE49-F238E27FC236}">
                            <a16:creationId xmlns:a16="http://schemas.microsoft.com/office/drawing/2014/main" id="{4AEEE53D-1E55-454A-8D25-E84FE322071F}"/>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CFC02C4-12F8-4082-BCE9-E5F591F44943}"/>
              </a:ext>
            </a:extLst>
          </p:cNvPr>
          <p:cNvSpPr>
            <a:spLocks noGrp="1"/>
          </p:cNvSpPr>
          <p:nvPr>
            <p:ph type="title"/>
          </p:nvPr>
        </p:nvSpPr>
        <p:spPr/>
        <p:txBody>
          <a:bodyPr vert="horz"/>
          <a:lstStyle/>
          <a:p>
            <a:r>
              <a:rPr lang="en-US" dirty="0" err="1"/>
              <a:t>PlantSight</a:t>
            </a:r>
            <a:r>
              <a:rPr lang="en-US" dirty="0"/>
              <a:t> </a:t>
            </a:r>
            <a:br>
              <a:rPr lang="en-US" dirty="0"/>
            </a:br>
            <a:r>
              <a:rPr lang="en-US" b="0" kern="1400" dirty="0">
                <a:solidFill>
                  <a:srgbClr val="FFFFFF"/>
                </a:solidFill>
                <a:ea typeface="Arial Unicode MS"/>
              </a:rPr>
              <a:t>Brings Together Virtual with Real Time Data</a:t>
            </a:r>
            <a:br>
              <a:rPr lang="en-US" b="0" dirty="0">
                <a:solidFill>
                  <a:schemeClr val="bg1"/>
                </a:solidFill>
              </a:rPr>
            </a:br>
            <a:endParaRPr lang="en-US" b="0" dirty="0"/>
          </a:p>
        </p:txBody>
      </p:sp>
      <p:sp>
        <p:nvSpPr>
          <p:cNvPr id="3" name="Fußzeilenplatzhalter 2">
            <a:extLst>
              <a:ext uri="{FF2B5EF4-FFF2-40B4-BE49-F238E27FC236}">
                <a16:creationId xmlns:a16="http://schemas.microsoft.com/office/drawing/2014/main" id="{57A582E1-38BB-4BC4-8AE6-A91416DBEA76}"/>
              </a:ext>
            </a:extLst>
          </p:cNvPr>
          <p:cNvSpPr>
            <a:spLocks noGrp="1"/>
          </p:cNvSpPr>
          <p:nvPr>
            <p:ph type="ftr" sz="quarter" idx="10"/>
          </p:nvPr>
        </p:nvSpPr>
        <p:spPr/>
        <p:txBody>
          <a:bodyPr/>
          <a:lstStyle/>
          <a:p>
            <a:pPr>
              <a:lnSpc>
                <a:spcPct val="100000"/>
              </a:lnSpc>
            </a:pPr>
            <a:r>
              <a:rPr lang="en-US"/>
              <a:t>Unrestricted | © Siemens 2021 | PlantSight | May 2021</a:t>
            </a:r>
            <a:endParaRPr lang="en-US" dirty="0"/>
          </a:p>
        </p:txBody>
      </p:sp>
      <p:sp>
        <p:nvSpPr>
          <p:cNvPr id="4" name="Foliennummernplatzhalter 3">
            <a:extLst>
              <a:ext uri="{FF2B5EF4-FFF2-40B4-BE49-F238E27FC236}">
                <a16:creationId xmlns:a16="http://schemas.microsoft.com/office/drawing/2014/main" id="{2847C7C9-6EBC-4C0E-AE45-3643A582F6C6}"/>
              </a:ext>
            </a:extLst>
          </p:cNvPr>
          <p:cNvSpPr>
            <a:spLocks noGrp="1"/>
          </p:cNvSpPr>
          <p:nvPr>
            <p:ph type="sldNum" sz="quarter" idx="11"/>
          </p:nvPr>
        </p:nvSpPr>
        <p:spPr/>
        <p:txBody>
          <a:bodyPr/>
          <a:lstStyle/>
          <a:p>
            <a:r>
              <a:rPr lang="en-US" dirty="0"/>
              <a:t>Page </a:t>
            </a:r>
            <a:fld id="{15EBE321-CBB1-4E91-BD14-37C8D44326FB}" type="slidenum">
              <a:rPr lang="en-US" smtClean="0"/>
              <a:pPr/>
              <a:t>9</a:t>
            </a:fld>
            <a:endParaRPr lang="en-US" dirty="0"/>
          </a:p>
        </p:txBody>
      </p:sp>
      <p:sp>
        <p:nvSpPr>
          <p:cNvPr id="47" name="AutoShape 3">
            <a:extLst>
              <a:ext uri="{FF2B5EF4-FFF2-40B4-BE49-F238E27FC236}">
                <a16:creationId xmlns:a16="http://schemas.microsoft.com/office/drawing/2014/main" id="{6030F206-6695-4E3E-9780-6EEED13CE5F7}"/>
              </a:ext>
            </a:extLst>
          </p:cNvPr>
          <p:cNvSpPr>
            <a:spLocks noChangeAspect="1" noChangeArrowheads="1" noTextEdit="1"/>
          </p:cNvSpPr>
          <p:nvPr/>
        </p:nvSpPr>
        <p:spPr bwMode="auto">
          <a:xfrm>
            <a:off x="616744" y="2129408"/>
            <a:ext cx="10964863" cy="260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Freihandform: Form 77">
            <a:extLst>
              <a:ext uri="{FF2B5EF4-FFF2-40B4-BE49-F238E27FC236}">
                <a16:creationId xmlns:a16="http://schemas.microsoft.com/office/drawing/2014/main" id="{6503507D-0DAA-4BCB-9B35-708B95EDE970}"/>
              </a:ext>
            </a:extLst>
          </p:cNvPr>
          <p:cNvSpPr>
            <a:spLocks/>
          </p:cNvSpPr>
          <p:nvPr/>
        </p:nvSpPr>
        <p:spPr bwMode="auto">
          <a:xfrm>
            <a:off x="4147896" y="1836151"/>
            <a:ext cx="7642470" cy="3499428"/>
          </a:xfrm>
          <a:custGeom>
            <a:avLst/>
            <a:gdLst>
              <a:gd name="connsiteX0" fmla="*/ 4153564 w 7642470"/>
              <a:gd name="connsiteY0" fmla="*/ 0 h 3499428"/>
              <a:gd name="connsiteX1" fmla="*/ 5892756 w 7642470"/>
              <a:gd name="connsiteY1" fmla="*/ 0 h 3499428"/>
              <a:gd name="connsiteX2" fmla="*/ 7642470 w 7642470"/>
              <a:gd name="connsiteY2" fmla="*/ 1749714 h 3499428"/>
              <a:gd name="connsiteX3" fmla="*/ 7642469 w 7642470"/>
              <a:gd name="connsiteY3" fmla="*/ 1749714 h 3499428"/>
              <a:gd name="connsiteX4" fmla="*/ 5892755 w 7642470"/>
              <a:gd name="connsiteY4" fmla="*/ 3499428 h 3499428"/>
              <a:gd name="connsiteX5" fmla="*/ 0 w 7642470"/>
              <a:gd name="connsiteY5" fmla="*/ 3499427 h 3499428"/>
              <a:gd name="connsiteX6" fmla="*/ 0 w 7642470"/>
              <a:gd name="connsiteY6" fmla="*/ 3306875 h 3499428"/>
              <a:gd name="connsiteX0" fmla="*/ 0 w 7642470"/>
              <a:gd name="connsiteY0" fmla="*/ 3306875 h 3499428"/>
              <a:gd name="connsiteX1" fmla="*/ 4153564 w 7642470"/>
              <a:gd name="connsiteY1" fmla="*/ 0 h 3499428"/>
              <a:gd name="connsiteX2" fmla="*/ 5892756 w 7642470"/>
              <a:gd name="connsiteY2" fmla="*/ 0 h 3499428"/>
              <a:gd name="connsiteX3" fmla="*/ 7642470 w 7642470"/>
              <a:gd name="connsiteY3" fmla="*/ 1749714 h 3499428"/>
              <a:gd name="connsiteX4" fmla="*/ 7642469 w 7642470"/>
              <a:gd name="connsiteY4" fmla="*/ 1749714 h 3499428"/>
              <a:gd name="connsiteX5" fmla="*/ 5892755 w 7642470"/>
              <a:gd name="connsiteY5" fmla="*/ 3499428 h 3499428"/>
              <a:gd name="connsiteX6" fmla="*/ 0 w 7642470"/>
              <a:gd name="connsiteY6" fmla="*/ 3499427 h 3499428"/>
              <a:gd name="connsiteX7" fmla="*/ 91440 w 7642470"/>
              <a:gd name="connsiteY7" fmla="*/ 3398315 h 3499428"/>
              <a:gd name="connsiteX0" fmla="*/ 4153564 w 7642470"/>
              <a:gd name="connsiteY0" fmla="*/ 0 h 3499428"/>
              <a:gd name="connsiteX1" fmla="*/ 5892756 w 7642470"/>
              <a:gd name="connsiteY1" fmla="*/ 0 h 3499428"/>
              <a:gd name="connsiteX2" fmla="*/ 7642470 w 7642470"/>
              <a:gd name="connsiteY2" fmla="*/ 1749714 h 3499428"/>
              <a:gd name="connsiteX3" fmla="*/ 7642469 w 7642470"/>
              <a:gd name="connsiteY3" fmla="*/ 1749714 h 3499428"/>
              <a:gd name="connsiteX4" fmla="*/ 5892755 w 7642470"/>
              <a:gd name="connsiteY4" fmla="*/ 3499428 h 3499428"/>
              <a:gd name="connsiteX5" fmla="*/ 0 w 7642470"/>
              <a:gd name="connsiteY5" fmla="*/ 3499427 h 3499428"/>
              <a:gd name="connsiteX6" fmla="*/ 91440 w 7642470"/>
              <a:gd name="connsiteY6" fmla="*/ 3398315 h 3499428"/>
              <a:gd name="connsiteX0" fmla="*/ 4153564 w 7642470"/>
              <a:gd name="connsiteY0" fmla="*/ 0 h 3499428"/>
              <a:gd name="connsiteX1" fmla="*/ 5892756 w 7642470"/>
              <a:gd name="connsiteY1" fmla="*/ 0 h 3499428"/>
              <a:gd name="connsiteX2" fmla="*/ 7642470 w 7642470"/>
              <a:gd name="connsiteY2" fmla="*/ 1749714 h 3499428"/>
              <a:gd name="connsiteX3" fmla="*/ 7642469 w 7642470"/>
              <a:gd name="connsiteY3" fmla="*/ 1749714 h 3499428"/>
              <a:gd name="connsiteX4" fmla="*/ 5892755 w 7642470"/>
              <a:gd name="connsiteY4" fmla="*/ 3499428 h 3499428"/>
              <a:gd name="connsiteX5" fmla="*/ 0 w 7642470"/>
              <a:gd name="connsiteY5" fmla="*/ 3499427 h 34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470" h="3499428">
                <a:moveTo>
                  <a:pt x="4153564" y="0"/>
                </a:moveTo>
                <a:lnTo>
                  <a:pt x="5892756" y="0"/>
                </a:lnTo>
                <a:cubicBezTo>
                  <a:pt x="6859096" y="0"/>
                  <a:pt x="7642470" y="783374"/>
                  <a:pt x="7642470" y="1749714"/>
                </a:cubicBezTo>
                <a:lnTo>
                  <a:pt x="7642469" y="1749714"/>
                </a:lnTo>
                <a:cubicBezTo>
                  <a:pt x="7642469" y="2716054"/>
                  <a:pt x="6859095" y="3499428"/>
                  <a:pt x="5892755" y="3499428"/>
                </a:cubicBezTo>
                <a:lnTo>
                  <a:pt x="0" y="3499427"/>
                </a:lnTo>
              </a:path>
            </a:pathLst>
          </a:custGeom>
          <a:noFill/>
          <a:ln w="57150" cap="flat">
            <a:gradFill flip="none" rotWithShape="1">
              <a:gsLst>
                <a:gs pos="0">
                  <a:srgbClr val="00FCCB"/>
                </a:gs>
                <a:gs pos="100000">
                  <a:srgbClr val="00E6DC"/>
                </a:gs>
              </a:gsLst>
              <a:lin ang="0" scaled="1"/>
              <a:tileRect/>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6" name="Oval 87">
            <a:extLst>
              <a:ext uri="{FF2B5EF4-FFF2-40B4-BE49-F238E27FC236}">
                <a16:creationId xmlns:a16="http://schemas.microsoft.com/office/drawing/2014/main" id="{E0C2CBCE-B87F-47B8-9FAE-2F3FBEF72095}"/>
              </a:ext>
            </a:extLst>
          </p:cNvPr>
          <p:cNvSpPr>
            <a:spLocks/>
          </p:cNvSpPr>
          <p:nvPr/>
        </p:nvSpPr>
        <p:spPr bwMode="auto">
          <a:xfrm>
            <a:off x="687680" y="2099538"/>
            <a:ext cx="2972654" cy="2972654"/>
          </a:xfrm>
          <a:prstGeom prst="ellipse">
            <a:avLst/>
          </a:prstGeom>
          <a:gradFill>
            <a:gsLst>
              <a:gs pos="0">
                <a:srgbClr val="333353"/>
              </a:gs>
              <a:gs pos="100000">
                <a:srgbClr val="333353">
                  <a:alpha val="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200"/>
              </a:spcAft>
            </a:pPr>
            <a:endParaRPr lang="en-US" sz="1400" dirty="0">
              <a:solidFill>
                <a:schemeClr val="accent2"/>
              </a:solidFill>
              <a:latin typeface="Arial Regular"/>
              <a:ea typeface="ＭＳ Ｐゴシック" charset="-128"/>
            </a:endParaRPr>
          </a:p>
        </p:txBody>
      </p:sp>
      <p:sp>
        <p:nvSpPr>
          <p:cNvPr id="7" name="Oval 88">
            <a:extLst>
              <a:ext uri="{FF2B5EF4-FFF2-40B4-BE49-F238E27FC236}">
                <a16:creationId xmlns:a16="http://schemas.microsoft.com/office/drawing/2014/main" id="{6A1FCC42-D982-4C72-A3A4-9CAFB90DC7F8}"/>
              </a:ext>
            </a:extLst>
          </p:cNvPr>
          <p:cNvSpPr>
            <a:spLocks/>
          </p:cNvSpPr>
          <p:nvPr/>
        </p:nvSpPr>
        <p:spPr bwMode="auto">
          <a:xfrm flipH="1">
            <a:off x="8539052" y="2099538"/>
            <a:ext cx="2972654" cy="2972654"/>
          </a:xfrm>
          <a:prstGeom prst="ellipse">
            <a:avLst/>
          </a:prstGeom>
          <a:gradFill>
            <a:gsLst>
              <a:gs pos="0">
                <a:srgbClr val="333353"/>
              </a:gs>
              <a:gs pos="100000">
                <a:srgbClr val="333353">
                  <a:alpha val="0"/>
                </a:srgbClr>
              </a:gs>
            </a:gsLst>
            <a:lin ang="0" scaled="1"/>
          </a:gradFill>
        </p:spPr>
        <p:txBody>
          <a:bodyPr wrap="square" lIns="180000" tIns="431992" rIns="144000" rtlCol="0">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943">
              <a:spcAft>
                <a:spcPts val="1200"/>
              </a:spcAft>
            </a:pPr>
            <a:endParaRPr lang="en-US" sz="1400" dirty="0">
              <a:solidFill>
                <a:schemeClr val="accent2"/>
              </a:solidFill>
              <a:latin typeface="Arial Regular"/>
              <a:ea typeface="ＭＳ Ｐゴシック" charset="-128"/>
            </a:endParaRPr>
          </a:p>
        </p:txBody>
      </p:sp>
      <p:sp>
        <p:nvSpPr>
          <p:cNvPr id="10" name="Rechteck 9">
            <a:extLst>
              <a:ext uri="{FF2B5EF4-FFF2-40B4-BE49-F238E27FC236}">
                <a16:creationId xmlns:a16="http://schemas.microsoft.com/office/drawing/2014/main" id="{34793C47-F87F-4BE2-82E7-328A8566FBC3}"/>
              </a:ext>
            </a:extLst>
          </p:cNvPr>
          <p:cNvSpPr>
            <a:spLocks/>
          </p:cNvSpPr>
          <p:nvPr/>
        </p:nvSpPr>
        <p:spPr bwMode="auto">
          <a:xfrm>
            <a:off x="5211129" y="2089421"/>
            <a:ext cx="1776128" cy="38779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none" lIns="0" tIns="0" rIns="0" bIns="0" numCol="1" spcCol="72000" rtlCol="0" anchor="ctr">
            <a:spAutoFit/>
          </a:bodyPr>
          <a:lstStyle>
            <a:defPPr>
              <a:defRPr lang="cs-CZ"/>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lnSpc>
                <a:spcPct val="90000"/>
              </a:lnSpc>
              <a:spcBef>
                <a:spcPct val="0"/>
              </a:spcBef>
              <a:defRPr/>
            </a:pPr>
            <a:r>
              <a:rPr lang="en-US" sz="2800" b="1">
                <a:solidFill>
                  <a:schemeClr val="tx1"/>
                </a:solidFill>
                <a:latin typeface="Arial" panose="020B0604020202020204" pitchFamily="34" charset="0"/>
                <a:ea typeface="Arial" panose="020B0604020202020204" pitchFamily="34" charset="-128"/>
                <a:cs typeface="Arial" panose="020B0604020202020204" pitchFamily="34" charset="0"/>
              </a:rPr>
              <a:t>PlantSight</a:t>
            </a:r>
            <a:endParaRPr lang="en-US" sz="2800" b="1" dirty="0">
              <a:solidFill>
                <a:schemeClr val="tx1"/>
              </a:solidFill>
              <a:latin typeface="Arial" panose="020B0604020202020204" pitchFamily="34" charset="0"/>
              <a:ea typeface="Arial" panose="020B0604020202020204" pitchFamily="34" charset="-128"/>
              <a:cs typeface="Arial" panose="020B0604020202020204" pitchFamily="34" charset="0"/>
            </a:endParaRPr>
          </a:p>
        </p:txBody>
      </p:sp>
      <p:sp>
        <p:nvSpPr>
          <p:cNvPr id="11" name="Rectangle 105">
            <a:extLst>
              <a:ext uri="{FF2B5EF4-FFF2-40B4-BE49-F238E27FC236}">
                <a16:creationId xmlns:a16="http://schemas.microsoft.com/office/drawing/2014/main" id="{90D5F602-172F-4488-B7BF-778A5B80E513}"/>
              </a:ext>
            </a:extLst>
          </p:cNvPr>
          <p:cNvSpPr/>
          <p:nvPr/>
        </p:nvSpPr>
        <p:spPr>
          <a:xfrm>
            <a:off x="1598183" y="3207300"/>
            <a:ext cx="1151651" cy="757130"/>
          </a:xfrm>
          <a:prstGeom prst="rect">
            <a:avLst/>
          </a:prstGeom>
        </p:spPr>
        <p:txBody>
          <a:bodyPr wrap="square"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ctr">
              <a:lnSpc>
                <a:spcPct val="90000"/>
              </a:lnSpc>
              <a:spcBef>
                <a:spcPct val="0"/>
              </a:spcBef>
              <a:defRPr/>
            </a:pPr>
            <a:r>
              <a:rPr lang="en-US" sz="2400" spc="60">
                <a:latin typeface="Arial" panose="020B0604020202020204" pitchFamily="34" charset="0"/>
                <a:ea typeface="Arial" panose="020B0604020202020204" pitchFamily="34" charset="-128"/>
                <a:cs typeface="Arial" panose="020B0604020202020204" pitchFamily="34" charset="0"/>
              </a:rPr>
              <a:t>Virtual</a:t>
            </a:r>
            <a:br>
              <a:rPr lang="en-US" sz="2400" spc="60">
                <a:latin typeface="Arial" panose="020B0604020202020204" pitchFamily="34" charset="0"/>
                <a:ea typeface="Arial" panose="020B0604020202020204" pitchFamily="34" charset="-128"/>
                <a:cs typeface="Arial" panose="020B0604020202020204" pitchFamily="34" charset="0"/>
              </a:rPr>
            </a:br>
            <a:r>
              <a:rPr lang="en-US" sz="2400" spc="60">
                <a:latin typeface="Arial" panose="020B0604020202020204" pitchFamily="34" charset="0"/>
                <a:ea typeface="Arial" panose="020B0604020202020204" pitchFamily="34" charset="-128"/>
                <a:cs typeface="Arial" panose="020B0604020202020204" pitchFamily="34" charset="0"/>
              </a:rPr>
              <a:t>Plant</a:t>
            </a:r>
            <a:endParaRPr lang="en-US" sz="2400" spc="60" dirty="0">
              <a:latin typeface="Arial" panose="020B0604020202020204" pitchFamily="34" charset="0"/>
              <a:ea typeface="Arial" panose="020B0604020202020204" pitchFamily="34" charset="-128"/>
              <a:cs typeface="Arial" panose="020B0604020202020204" pitchFamily="34" charset="0"/>
            </a:endParaRPr>
          </a:p>
        </p:txBody>
      </p:sp>
      <p:sp>
        <p:nvSpPr>
          <p:cNvPr id="12" name="Rectangle 106">
            <a:extLst>
              <a:ext uri="{FF2B5EF4-FFF2-40B4-BE49-F238E27FC236}">
                <a16:creationId xmlns:a16="http://schemas.microsoft.com/office/drawing/2014/main" id="{FE6A27C8-9115-45A0-81AB-BBE9A70207EA}"/>
              </a:ext>
            </a:extLst>
          </p:cNvPr>
          <p:cNvSpPr>
            <a:spLocks/>
          </p:cNvSpPr>
          <p:nvPr/>
        </p:nvSpPr>
        <p:spPr>
          <a:xfrm>
            <a:off x="9394246" y="3207300"/>
            <a:ext cx="1262266" cy="757130"/>
          </a:xfrm>
          <a:prstGeom prst="rect">
            <a:avLst/>
          </a:prstGeom>
        </p:spPr>
        <p:txBody>
          <a:bodyPr wrap="square"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90000"/>
              </a:lnSpc>
              <a:spcBef>
                <a:spcPct val="0"/>
              </a:spcBef>
            </a:pPr>
            <a:r>
              <a:rPr lang="en-US" sz="2400" spc="60">
                <a:latin typeface="Arial" panose="020B0604020202020204" pitchFamily="34" charset="0"/>
                <a:cs typeface="Arial" panose="020B0604020202020204" pitchFamily="34" charset="0"/>
              </a:rPr>
              <a:t>Real</a:t>
            </a:r>
            <a:br>
              <a:rPr lang="en-US" sz="2400" spc="60">
                <a:latin typeface="Arial" panose="020B0604020202020204" pitchFamily="34" charset="0"/>
                <a:cs typeface="Arial" panose="020B0604020202020204" pitchFamily="34" charset="0"/>
              </a:rPr>
            </a:br>
            <a:r>
              <a:rPr lang="en-US" sz="2400" spc="60">
                <a:latin typeface="Arial" panose="020B0604020202020204" pitchFamily="34" charset="0"/>
                <a:cs typeface="Arial" panose="020B0604020202020204" pitchFamily="34" charset="0"/>
              </a:rPr>
              <a:t>Plant</a:t>
            </a:r>
            <a:endParaRPr lang="en-US" sz="2400" spc="60" dirty="0">
              <a:latin typeface="Arial" panose="020B0604020202020204" pitchFamily="34" charset="0"/>
              <a:cs typeface="Arial" panose="020B0604020202020204" pitchFamily="34" charset="0"/>
            </a:endParaRPr>
          </a:p>
        </p:txBody>
      </p:sp>
      <p:sp>
        <p:nvSpPr>
          <p:cNvPr id="16" name="Eingekerbter Richtungspfeil 59">
            <a:extLst>
              <a:ext uri="{FF2B5EF4-FFF2-40B4-BE49-F238E27FC236}">
                <a16:creationId xmlns:a16="http://schemas.microsoft.com/office/drawing/2014/main" id="{01B379CA-81BC-4D6F-BEFF-65448D63382A}"/>
              </a:ext>
            </a:extLst>
          </p:cNvPr>
          <p:cNvSpPr>
            <a:spLocks/>
          </p:cNvSpPr>
          <p:nvPr/>
        </p:nvSpPr>
        <p:spPr bwMode="gray">
          <a:xfrm flipH="1">
            <a:off x="4393437" y="5397564"/>
            <a:ext cx="2673543" cy="215315"/>
          </a:xfrm>
          <a:prstGeom prst="rect">
            <a:avLst/>
          </a:prstGeom>
          <a:noFill/>
          <a:ln w="19050">
            <a:noFill/>
            <a:miter lim="800000"/>
            <a:headEnd/>
            <a:tailEnd/>
          </a:ln>
          <a:effectLst/>
        </p:spPr>
        <p:txBody>
          <a:bodyPr wrap="square" lIns="0" tIns="0" rIns="0" bIns="0" numCol="1" spcCol="72000" rtlCol="0" anchor="ctr" anchorCtr="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ct val="0"/>
              </a:spcBef>
              <a:buFont typeface="Wingdings" charset="0"/>
              <a:buNone/>
            </a:pPr>
            <a:r>
              <a:rPr lang="en-US" sz="1399" spc="150" dirty="0">
                <a:solidFill>
                  <a:srgbClr val="00FCCC"/>
                </a:solidFill>
                <a:latin typeface="Arial" panose="020B0604020202020204" pitchFamily="34" charset="0"/>
                <a:cs typeface="Arial" panose="020B0604020202020204" pitchFamily="34" charset="0"/>
              </a:rPr>
              <a:t>CHANGE MANAGEMENT</a:t>
            </a:r>
          </a:p>
        </p:txBody>
      </p:sp>
      <p:sp>
        <p:nvSpPr>
          <p:cNvPr id="18" name="Eingekerbter Richtungspfeil 59">
            <a:extLst>
              <a:ext uri="{FF2B5EF4-FFF2-40B4-BE49-F238E27FC236}">
                <a16:creationId xmlns:a16="http://schemas.microsoft.com/office/drawing/2014/main" id="{29978540-8AA4-41B2-A291-48CAE9E8372B}"/>
              </a:ext>
            </a:extLst>
          </p:cNvPr>
          <p:cNvSpPr>
            <a:spLocks/>
          </p:cNvSpPr>
          <p:nvPr/>
        </p:nvSpPr>
        <p:spPr bwMode="gray">
          <a:xfrm>
            <a:off x="5161723" y="1553233"/>
            <a:ext cx="2673543" cy="215315"/>
          </a:xfrm>
          <a:prstGeom prst="rect">
            <a:avLst/>
          </a:prstGeom>
          <a:noFill/>
          <a:ln w="19050">
            <a:noFill/>
            <a:miter lim="800000"/>
            <a:headEnd/>
            <a:tailEnd/>
          </a:ln>
          <a:effectLst/>
        </p:spPr>
        <p:txBody>
          <a:bodyPr wrap="square" lIns="0" tIns="0" rIns="0" bIns="0" numCol="1" spcCol="72000" rtlCol="0" anchor="ctr" anchorCtr="0">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Bef>
                <a:spcPct val="0"/>
              </a:spcBef>
            </a:pPr>
            <a:r>
              <a:rPr lang="en-US" sz="1399" spc="150" dirty="0">
                <a:solidFill>
                  <a:srgbClr val="00FFBB"/>
                </a:solidFill>
                <a:latin typeface="Arial" panose="020B0604020202020204" pitchFamily="34" charset="0"/>
                <a:cs typeface="Arial" panose="020B0604020202020204" pitchFamily="34" charset="0"/>
              </a:rPr>
              <a:t>HANDOVER</a:t>
            </a:r>
          </a:p>
        </p:txBody>
      </p:sp>
      <p:sp>
        <p:nvSpPr>
          <p:cNvPr id="20" name="Rechteck 19">
            <a:extLst>
              <a:ext uri="{FF2B5EF4-FFF2-40B4-BE49-F238E27FC236}">
                <a16:creationId xmlns:a16="http://schemas.microsoft.com/office/drawing/2014/main" id="{6DD63D97-B31A-4009-9599-49D5AFBCAEAC}"/>
              </a:ext>
            </a:extLst>
          </p:cNvPr>
          <p:cNvSpPr>
            <a:spLocks/>
          </p:cNvSpPr>
          <p:nvPr/>
        </p:nvSpPr>
        <p:spPr>
          <a:xfrm>
            <a:off x="4617313" y="2527309"/>
            <a:ext cx="2963760" cy="215315"/>
          </a:xfrm>
          <a:prstGeom prst="rect">
            <a:avLst/>
          </a:prstGeom>
        </p:spPr>
        <p:txBody>
          <a:bodyPr wrap="none" lIns="0" tIns="0" rIns="0" bIns="0" anchor="ctr">
            <a:sp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spcBef>
                <a:spcPct val="0"/>
              </a:spcBef>
              <a:defRPr/>
            </a:pPr>
            <a:r>
              <a:rPr lang="en-US" sz="1399" spc="150" dirty="0">
                <a:latin typeface="Arial" panose="020B0604020202020204" pitchFamily="34" charset="0"/>
                <a:cs typeface="Arial" panose="020B0604020202020204" pitchFamily="34" charset="0"/>
              </a:rPr>
              <a:t>INFORMATION DATA MODELL</a:t>
            </a:r>
          </a:p>
        </p:txBody>
      </p:sp>
      <p:grpSp>
        <p:nvGrpSpPr>
          <p:cNvPr id="69" name="Gruppieren 68">
            <a:extLst>
              <a:ext uri="{FF2B5EF4-FFF2-40B4-BE49-F238E27FC236}">
                <a16:creationId xmlns:a16="http://schemas.microsoft.com/office/drawing/2014/main" id="{28B6D691-221C-4BEA-9BAE-C48FA3935891}"/>
              </a:ext>
            </a:extLst>
          </p:cNvPr>
          <p:cNvGrpSpPr/>
          <p:nvPr/>
        </p:nvGrpSpPr>
        <p:grpSpPr>
          <a:xfrm>
            <a:off x="2878242" y="2802931"/>
            <a:ext cx="1525102" cy="1565871"/>
            <a:chOff x="2865991" y="2803410"/>
            <a:chExt cx="1525102" cy="1565871"/>
          </a:xfrm>
        </p:grpSpPr>
        <p:sp>
          <p:nvSpPr>
            <p:cNvPr id="41" name="Arrow: Pentagon 98">
              <a:extLst>
                <a:ext uri="{FF2B5EF4-FFF2-40B4-BE49-F238E27FC236}">
                  <a16:creationId xmlns:a16="http://schemas.microsoft.com/office/drawing/2014/main" id="{9B93491D-3C03-49E5-8CC0-2E5ED35E7BC4}"/>
                </a:ext>
              </a:extLst>
            </p:cNvPr>
            <p:cNvSpPr>
              <a:spLocks/>
            </p:cNvSpPr>
            <p:nvPr/>
          </p:nvSpPr>
          <p:spPr bwMode="auto">
            <a:xfrm>
              <a:off x="2865991" y="2803410"/>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defRPr/>
              </a:pPr>
              <a:r>
                <a:rPr lang="en-US" sz="1200">
                  <a:latin typeface="Arial" pitchFamily="34" charset="0"/>
                  <a:ea typeface="ＭＳ Ｐゴシック" charset="-128"/>
                </a:rPr>
                <a:t>Design Data </a:t>
              </a:r>
              <a:endParaRPr lang="en-US" sz="1200" dirty="0">
                <a:latin typeface="Arial" pitchFamily="34" charset="0"/>
                <a:ea typeface="ＭＳ Ｐゴシック" charset="-128"/>
              </a:endParaRPr>
            </a:p>
          </p:txBody>
        </p:sp>
        <p:sp>
          <p:nvSpPr>
            <p:cNvPr id="42" name="Arrow: Pentagon 99">
              <a:extLst>
                <a:ext uri="{FF2B5EF4-FFF2-40B4-BE49-F238E27FC236}">
                  <a16:creationId xmlns:a16="http://schemas.microsoft.com/office/drawing/2014/main" id="{1FE1F03D-F32D-4EF1-95CE-464DBE36BC48}"/>
                </a:ext>
              </a:extLst>
            </p:cNvPr>
            <p:cNvSpPr/>
            <p:nvPr/>
          </p:nvSpPr>
          <p:spPr bwMode="auto">
            <a:xfrm>
              <a:off x="2865992" y="3358204"/>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pPr>
              <a:r>
                <a:rPr lang="en-US" sz="1200">
                  <a:latin typeface="Arial" panose="020B0604020202020204" pitchFamily="34" charset="0"/>
                  <a:cs typeface="Arial" panose="020B0604020202020204" pitchFamily="34" charset="0"/>
                </a:rPr>
                <a:t>Simulation Data </a:t>
              </a:r>
              <a:endParaRPr lang="en-US" sz="1200" dirty="0">
                <a:latin typeface="Arial" panose="020B0604020202020204" pitchFamily="34" charset="0"/>
                <a:cs typeface="Arial" panose="020B0604020202020204" pitchFamily="34" charset="0"/>
              </a:endParaRPr>
            </a:p>
          </p:txBody>
        </p:sp>
        <p:sp>
          <p:nvSpPr>
            <p:cNvPr id="43" name="Arrow: Pentagon 100">
              <a:extLst>
                <a:ext uri="{FF2B5EF4-FFF2-40B4-BE49-F238E27FC236}">
                  <a16:creationId xmlns:a16="http://schemas.microsoft.com/office/drawing/2014/main" id="{A94E98A8-94E5-43EB-AE3C-BD8B4697DAA4}"/>
                </a:ext>
              </a:extLst>
            </p:cNvPr>
            <p:cNvSpPr/>
            <p:nvPr/>
          </p:nvSpPr>
          <p:spPr bwMode="auto">
            <a:xfrm>
              <a:off x="2865992" y="3916130"/>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252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0"/>
                </a:spcBef>
                <a:defRPr/>
              </a:pPr>
              <a:r>
                <a:rPr lang="en-US" sz="1200">
                  <a:latin typeface="Arial" pitchFamily="34" charset="0"/>
                  <a:ea typeface="ＭＳ Ｐゴシック" charset="-128"/>
                </a:rPr>
                <a:t>1D/2D/3D Data </a:t>
              </a:r>
              <a:endParaRPr lang="en-US" sz="1200" dirty="0">
                <a:latin typeface="Arial" pitchFamily="34" charset="0"/>
                <a:ea typeface="ＭＳ Ｐゴシック" charset="-128"/>
              </a:endParaRPr>
            </a:p>
          </p:txBody>
        </p:sp>
      </p:grpSp>
      <p:grpSp>
        <p:nvGrpSpPr>
          <p:cNvPr id="68" name="Gruppieren 67">
            <a:extLst>
              <a:ext uri="{FF2B5EF4-FFF2-40B4-BE49-F238E27FC236}">
                <a16:creationId xmlns:a16="http://schemas.microsoft.com/office/drawing/2014/main" id="{4691C569-87E6-4AF9-B8DA-7DE85D29FC3B}"/>
              </a:ext>
            </a:extLst>
          </p:cNvPr>
          <p:cNvGrpSpPr/>
          <p:nvPr/>
        </p:nvGrpSpPr>
        <p:grpSpPr>
          <a:xfrm>
            <a:off x="7795044" y="2802930"/>
            <a:ext cx="1530441" cy="1565873"/>
            <a:chOff x="7782792" y="2810847"/>
            <a:chExt cx="1530441" cy="1565873"/>
          </a:xfrm>
        </p:grpSpPr>
        <p:sp>
          <p:nvSpPr>
            <p:cNvPr id="61" name="Arrow: Pentagon 91">
              <a:extLst>
                <a:ext uri="{FF2B5EF4-FFF2-40B4-BE49-F238E27FC236}">
                  <a16:creationId xmlns:a16="http://schemas.microsoft.com/office/drawing/2014/main" id="{57007778-7B0C-437D-8349-0C10C8996994}"/>
                </a:ext>
              </a:extLst>
            </p:cNvPr>
            <p:cNvSpPr>
              <a:spLocks/>
            </p:cNvSpPr>
            <p:nvPr/>
          </p:nvSpPr>
          <p:spPr bwMode="auto">
            <a:xfrm rot="10800000" flipV="1">
              <a:off x="7788132" y="3923569"/>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144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pPr>
              <a:r>
                <a:rPr lang="en-US" sz="1200">
                  <a:latin typeface="Arial" pitchFamily="34" charset="0"/>
                  <a:ea typeface="ＭＳ Ｐゴシック" charset="-128"/>
                </a:rPr>
                <a:t>Historical Data</a:t>
              </a:r>
              <a:endParaRPr lang="en-US" sz="1200" dirty="0">
                <a:latin typeface="Arial" pitchFamily="34" charset="0"/>
                <a:ea typeface="ＭＳ Ｐゴシック" charset="-128"/>
              </a:endParaRPr>
            </a:p>
          </p:txBody>
        </p:sp>
        <p:sp>
          <p:nvSpPr>
            <p:cNvPr id="62" name="Arrow: Pentagon 92">
              <a:extLst>
                <a:ext uri="{FF2B5EF4-FFF2-40B4-BE49-F238E27FC236}">
                  <a16:creationId xmlns:a16="http://schemas.microsoft.com/office/drawing/2014/main" id="{3E2D8C46-D049-4309-830F-4590F92C6EBC}"/>
                </a:ext>
              </a:extLst>
            </p:cNvPr>
            <p:cNvSpPr>
              <a:spLocks/>
            </p:cNvSpPr>
            <p:nvPr/>
          </p:nvSpPr>
          <p:spPr bwMode="auto">
            <a:xfrm rot="10800000" flipV="1">
              <a:off x="7788132" y="3368775"/>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144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pPr>
              <a:r>
                <a:rPr lang="en-US" sz="1200">
                  <a:latin typeface="Arial" pitchFamily="34" charset="0"/>
                  <a:ea typeface="ＭＳ Ｐゴシック" charset="-128"/>
                </a:rPr>
                <a:t>Real Time Data</a:t>
              </a:r>
              <a:endParaRPr lang="en-US" sz="1200" dirty="0">
                <a:latin typeface="Arial" pitchFamily="34" charset="0"/>
                <a:ea typeface="ＭＳ Ｐゴシック" charset="-128"/>
              </a:endParaRPr>
            </a:p>
          </p:txBody>
        </p:sp>
        <p:sp>
          <p:nvSpPr>
            <p:cNvPr id="63" name="Arrow: Pentagon 93">
              <a:extLst>
                <a:ext uri="{FF2B5EF4-FFF2-40B4-BE49-F238E27FC236}">
                  <a16:creationId xmlns:a16="http://schemas.microsoft.com/office/drawing/2014/main" id="{FEED81A1-7398-478B-8C70-0251ED5338B2}"/>
                </a:ext>
              </a:extLst>
            </p:cNvPr>
            <p:cNvSpPr>
              <a:spLocks/>
            </p:cNvSpPr>
            <p:nvPr/>
          </p:nvSpPr>
          <p:spPr bwMode="auto">
            <a:xfrm rot="10800000" flipV="1">
              <a:off x="7782792" y="2810847"/>
              <a:ext cx="1525101" cy="453151"/>
            </a:xfrm>
            <a:prstGeom prst="homePlate">
              <a:avLst>
                <a:gd name="adj" fmla="val 38229"/>
              </a:avLst>
            </a:prstGeom>
            <a:gradFill>
              <a:gsLst>
                <a:gs pos="0">
                  <a:schemeClr val="tx1">
                    <a:alpha val="0"/>
                  </a:schemeClr>
                </a:gs>
                <a:gs pos="100000">
                  <a:schemeClr val="tx1">
                    <a:alpha val="25000"/>
                  </a:schemeClr>
                </a:gs>
              </a:gsLst>
              <a:lin ang="0" scaled="0"/>
            </a:gradFill>
            <a:ln>
              <a:noFill/>
            </a:ln>
            <a:effectLst/>
          </p:spPr>
          <p:txBody>
            <a:bodyPr wrap="square" lIns="144000" tIns="54000" rIns="72000" bIns="54000" numCol="1" spcCol="72000" rtlCol="0" anchor="ctr">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Aft>
                  <a:spcPct val="0"/>
                </a:spcAft>
              </a:pPr>
              <a:r>
                <a:rPr lang="en-US" sz="1200">
                  <a:latin typeface="Arial" pitchFamily="34" charset="0"/>
                  <a:ea typeface="ＭＳ Ｐゴシック" charset="-128"/>
                </a:rPr>
                <a:t> Alarms</a:t>
              </a:r>
              <a:endParaRPr lang="en-US" sz="1200" dirty="0">
                <a:latin typeface="Arial" pitchFamily="34" charset="0"/>
                <a:ea typeface="ＭＳ Ｐゴシック" charset="-128"/>
              </a:endParaRPr>
            </a:p>
          </p:txBody>
        </p:sp>
      </p:grpSp>
      <p:sp>
        <p:nvSpPr>
          <p:cNvPr id="79" name="Freihandform: Form 78">
            <a:extLst>
              <a:ext uri="{FF2B5EF4-FFF2-40B4-BE49-F238E27FC236}">
                <a16:creationId xmlns:a16="http://schemas.microsoft.com/office/drawing/2014/main" id="{215C624E-5585-406D-934F-7E36E0AA87D1}"/>
              </a:ext>
            </a:extLst>
          </p:cNvPr>
          <p:cNvSpPr>
            <a:spLocks/>
          </p:cNvSpPr>
          <p:nvPr/>
        </p:nvSpPr>
        <p:spPr bwMode="auto">
          <a:xfrm flipH="1" flipV="1">
            <a:off x="415045" y="1836151"/>
            <a:ext cx="7642470" cy="3499428"/>
          </a:xfrm>
          <a:custGeom>
            <a:avLst/>
            <a:gdLst>
              <a:gd name="connsiteX0" fmla="*/ 5892755 w 7642470"/>
              <a:gd name="connsiteY0" fmla="*/ 3499428 h 3499428"/>
              <a:gd name="connsiteX1" fmla="*/ 0 w 7642470"/>
              <a:gd name="connsiteY1" fmla="*/ 3499427 h 3499428"/>
              <a:gd name="connsiteX2" fmla="*/ 0 w 7642470"/>
              <a:gd name="connsiteY2" fmla="*/ 3306875 h 3499428"/>
              <a:gd name="connsiteX3" fmla="*/ 4153564 w 7642470"/>
              <a:gd name="connsiteY3" fmla="*/ 0 h 3499428"/>
              <a:gd name="connsiteX4" fmla="*/ 5892756 w 7642470"/>
              <a:gd name="connsiteY4" fmla="*/ 0 h 3499428"/>
              <a:gd name="connsiteX5" fmla="*/ 7642470 w 7642470"/>
              <a:gd name="connsiteY5" fmla="*/ 1749714 h 3499428"/>
              <a:gd name="connsiteX6" fmla="*/ 7642469 w 7642470"/>
              <a:gd name="connsiteY6" fmla="*/ 1749714 h 3499428"/>
              <a:gd name="connsiteX7" fmla="*/ 5892755 w 7642470"/>
              <a:gd name="connsiteY7" fmla="*/ 3499428 h 3499428"/>
              <a:gd name="connsiteX0" fmla="*/ 0 w 7642470"/>
              <a:gd name="connsiteY0" fmla="*/ 3306875 h 3499428"/>
              <a:gd name="connsiteX1" fmla="*/ 4153564 w 7642470"/>
              <a:gd name="connsiteY1" fmla="*/ 0 h 3499428"/>
              <a:gd name="connsiteX2" fmla="*/ 5892756 w 7642470"/>
              <a:gd name="connsiteY2" fmla="*/ 0 h 3499428"/>
              <a:gd name="connsiteX3" fmla="*/ 7642470 w 7642470"/>
              <a:gd name="connsiteY3" fmla="*/ 1749714 h 3499428"/>
              <a:gd name="connsiteX4" fmla="*/ 7642469 w 7642470"/>
              <a:gd name="connsiteY4" fmla="*/ 1749714 h 3499428"/>
              <a:gd name="connsiteX5" fmla="*/ 5892755 w 7642470"/>
              <a:gd name="connsiteY5" fmla="*/ 3499428 h 3499428"/>
              <a:gd name="connsiteX6" fmla="*/ 0 w 7642470"/>
              <a:gd name="connsiteY6" fmla="*/ 3499427 h 3499428"/>
              <a:gd name="connsiteX7" fmla="*/ 91440 w 7642470"/>
              <a:gd name="connsiteY7" fmla="*/ 3398315 h 3499428"/>
              <a:gd name="connsiteX0" fmla="*/ 4153564 w 7642470"/>
              <a:gd name="connsiteY0" fmla="*/ 0 h 3499428"/>
              <a:gd name="connsiteX1" fmla="*/ 5892756 w 7642470"/>
              <a:gd name="connsiteY1" fmla="*/ 0 h 3499428"/>
              <a:gd name="connsiteX2" fmla="*/ 7642470 w 7642470"/>
              <a:gd name="connsiteY2" fmla="*/ 1749714 h 3499428"/>
              <a:gd name="connsiteX3" fmla="*/ 7642469 w 7642470"/>
              <a:gd name="connsiteY3" fmla="*/ 1749714 h 3499428"/>
              <a:gd name="connsiteX4" fmla="*/ 5892755 w 7642470"/>
              <a:gd name="connsiteY4" fmla="*/ 3499428 h 3499428"/>
              <a:gd name="connsiteX5" fmla="*/ 0 w 7642470"/>
              <a:gd name="connsiteY5" fmla="*/ 3499427 h 3499428"/>
              <a:gd name="connsiteX6" fmla="*/ 91440 w 7642470"/>
              <a:gd name="connsiteY6" fmla="*/ 3398315 h 3499428"/>
              <a:gd name="connsiteX0" fmla="*/ 4153564 w 7642470"/>
              <a:gd name="connsiteY0" fmla="*/ 0 h 3499428"/>
              <a:gd name="connsiteX1" fmla="*/ 5892756 w 7642470"/>
              <a:gd name="connsiteY1" fmla="*/ 0 h 3499428"/>
              <a:gd name="connsiteX2" fmla="*/ 7642470 w 7642470"/>
              <a:gd name="connsiteY2" fmla="*/ 1749714 h 3499428"/>
              <a:gd name="connsiteX3" fmla="*/ 7642469 w 7642470"/>
              <a:gd name="connsiteY3" fmla="*/ 1749714 h 3499428"/>
              <a:gd name="connsiteX4" fmla="*/ 5892755 w 7642470"/>
              <a:gd name="connsiteY4" fmla="*/ 3499428 h 3499428"/>
              <a:gd name="connsiteX5" fmla="*/ 0 w 7642470"/>
              <a:gd name="connsiteY5" fmla="*/ 3499427 h 349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42470" h="3499428">
                <a:moveTo>
                  <a:pt x="4153564" y="0"/>
                </a:moveTo>
                <a:lnTo>
                  <a:pt x="5892756" y="0"/>
                </a:lnTo>
                <a:cubicBezTo>
                  <a:pt x="6859096" y="0"/>
                  <a:pt x="7642470" y="783374"/>
                  <a:pt x="7642470" y="1749714"/>
                </a:cubicBezTo>
                <a:lnTo>
                  <a:pt x="7642469" y="1749714"/>
                </a:lnTo>
                <a:cubicBezTo>
                  <a:pt x="7642469" y="2716054"/>
                  <a:pt x="6859095" y="3499428"/>
                  <a:pt x="5892755" y="3499428"/>
                </a:cubicBezTo>
                <a:lnTo>
                  <a:pt x="0" y="3499427"/>
                </a:lnTo>
              </a:path>
            </a:pathLst>
          </a:custGeom>
          <a:noFill/>
          <a:ln w="57150" cap="flat">
            <a:gradFill flip="none" rotWithShape="1">
              <a:gsLst>
                <a:gs pos="0">
                  <a:srgbClr val="00FFB9"/>
                </a:gs>
                <a:gs pos="100000">
                  <a:srgbClr val="00F3D8"/>
                </a:gs>
              </a:gsLst>
              <a:lin ang="0" scaled="1"/>
              <a:tileRect/>
            </a:gradFill>
            <a:prstDash val="solid"/>
            <a:miter lim="800000"/>
            <a:headEnd type="none" w="med" len="med"/>
            <a:tailEnd type="triangl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Grafik 28" descr="Ein Bild, das Spielzeug enthält.&#10;&#10;Automatisch generierte Beschreibung">
            <a:extLst>
              <a:ext uri="{FF2B5EF4-FFF2-40B4-BE49-F238E27FC236}">
                <a16:creationId xmlns:a16="http://schemas.microsoft.com/office/drawing/2014/main" id="{C45CF900-00C5-4916-9C92-F25743B5C329}"/>
              </a:ext>
            </a:extLst>
          </p:cNvPr>
          <p:cNvPicPr>
            <a:picLocks noChangeAspect="1"/>
          </p:cNvPicPr>
          <p:nvPr/>
        </p:nvPicPr>
        <p:blipFill>
          <a:blip r:embed="rId7"/>
          <a:stretch>
            <a:fillRect/>
          </a:stretch>
        </p:blipFill>
        <p:spPr>
          <a:xfrm>
            <a:off x="4360679" y="2555563"/>
            <a:ext cx="3465696" cy="3465694"/>
          </a:xfrm>
          <a:prstGeom prst="rect">
            <a:avLst/>
          </a:prstGeom>
        </p:spPr>
      </p:pic>
    </p:spTree>
    <p:extLst>
      <p:ext uri="{BB962C8B-B14F-4D97-AF65-F5344CB8AC3E}">
        <p14:creationId xmlns:p14="http://schemas.microsoft.com/office/powerpoint/2010/main" val="3758521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DT_CUSTOMER" val="Siemens_I_2013_16x9"/>
  <p:tag name="EE4P_STYLE_ID" val="0f874eca-b6af-462a-a19c-daeff12f69d2"/>
  <p:tag name="EE4P_AGENDAWIZARD" val="&lt;ee4p&gt;&lt;layouts&gt;&lt;layout name=&quot;SMC Design 2013&quot; id=&quot;2_2&quot;&gt;&lt;standard&gt;&lt;textframe horizontalAnchor=&quot;1&quot; marginBottom=&quot;0&quot; marginLeft=&quot;0&quot; marginRight=&quot;0&quot; marginTop=&quot;0&quot; orientation=&quot;1&quot; verticalAnchor=&quot;1&quot; /&gt;&lt;font name=&quot;Arial&quot; bold=&quot;1&quot; italic=&quot;0&quot; color=&quot;#879BAA&quot; /&gt;&lt;paragraphformat firstLineIndent=&quot;0&quot; leftIndent=&quot;0&quot; rightIndent=&quot;0&quot; alignment=&quot;1&quot; lineRuleBefore=&quot;&quot; lineRuleWithin=&quot;&quot; lineRuleAfter=&quot;&quot; spaceBefore=&quot;&quot; spaceWithin=&quot;&quot; spaceAfter=&quot;&quot; /&gt;&lt;fill visible=&quot;0&quot; /&gt;&lt;line visible=&quot;0&quot; /&gt;&lt;bulletformat visible=&quot;0&quot; /&gt;&lt;/standard&gt;&lt;agenda name=&quot;New Agenda&quot; title=&quot;&quot; subtitle=&quot;Agenda&quot; sizingModeId=&quot;1&quot; fontSize=&quot;16&quot; startTime=&quot;540&quot; timeFormatId=&quot;1&quot; startItemNo=&quot;1&quot; createSingleAgendaSlide=&quot;0&quot; createSeparatingSlides=&quot;1&quot; createBackupSlide=&quot;1&quot; /&gt;&lt;columns&gt;&lt;column field=&quot;timeslot&quot; label=&quot;Time Slot&quot; visible=&quot;1&quot; checked=&quot;1&quot; leftSpacing=&quot;0&quot; rightSpacing=&quot;16&quot; dock=&quot;1&quot; /&gt;&lt;column field=&quot;itemno&quot; label=&quot;No.&quot; visible=&quot;0&quot; checked=&quot;0&quot; leftSpacing=&quot;16&quot; rightSpacing=&quot;16&quot; dock=&quot;1&quot; /&gt;&lt;column field=&quot;topic&quot; label=&quot;Topic&quot; leftSpacing=&quot;16&quot; rightSpacing=&quot;16&quot; dock=&quot;1&quot; /&gt;&lt;column field=&quot;responsible&quot; label=&quot;Responsible&quot; visible=&quot;1&quot; checked=&quot;1&quot; leftSpacing=&quot;16&quot; rightSpacing=&quot;16&quot; dock=&quot;1&quot; /&gt;&lt;column field=&quot;freecolumn&quot; label=&quot;&quot; visible=&quot;1&quot; checked=&quot;0&quot; leftSpacing=&quot;16&quot; rightSpacing=&quot;16&quot; dock=&quot;1&quot; /&gt;&lt;column field=&quot;pageno&quot; label=&quot;Page No.&quot; visible=&quot;1&quot; checked=&quot;0&quot; leftSpacing=&quot;16&quot; rightSpacing=&quot;0&quot; dock=&quot;1&quot; /&gt;&lt;/columns&gt;&lt;position left=&quot;42.5&quot; top=&quot;139.625&quot; width=&quot;646.25&quot; height=&quot;345.875&quot; /&gt;&lt;subtitle&gt;&lt;position left=&quot;42.62504&quot; top=&quot;111.25&quot; width=&quot;646.25&quot; height=&quot;16.96409&quot; /&gt;&lt;font size=&quot;14&quot; color=&quot;#000000&quot; bold=&quot;0&quot; /&gt;&lt;textframe verticalAnchor=&quot;1&quot; marginBottom=&quot;0&quot; marginTop=&quot;0&quot; /&gt;&lt;paragraphformat alignment=&quot;1&quot; /&gt;&lt;/subtitle&gt;&lt;settings allowedSizingModeIds=&quot;1|2&quot; allowedFontSizes=&quot;8|9|10.5|11|12|14|16&quot; allowedTimeFormatIds=&quot;1|2|3&quot; customLayoutName=&quot;Free content&quot; showBreak=&quot;1&quot; singleAgendaSlideSelected=&quot;0&quot; backupSlideTitle=&quot;Backup&quot; topMargin=&quot;0.33&quot; leftMargin=&quot;0.5&quot; /&gt;&lt;!-- Headings --&gt;&lt;!--&#10;      &lt;headings bottomMinSpacing=&quot;10&quot; bottomMaxSpacing=&quot;20&quot;&gt;&#10;        &lt;element field=&quot;timeslot&quot; type=&quot;autoshape&quot; autoShapeType=&quot;1&quot;/&gt;&#10;        &lt;element field=&quot;pageno&quot; type=&quot;autoshape&quot; autoShapeType=&quot;1&quot;/&gt;&#10;        &lt;element field=&quot;topic&quot; type=&quot;autoshape&quot; autoShapeType=&quot;1&quot;/&gt;&#10;        &lt;element field=&quot;responsible&quot; type=&quot;autoshape&quot; autoShapeType=&quot;1&quot;/&gt;&#10;        &lt;element field=&quot;freecolumn&quot; type=&quot;autoshape&quot; autoShapeType=&quot;1&quot;/&gt;&#10;      &lt;/headings&gt;&#10;      --&gt;&lt;!-- Agenda item formats --&gt;&lt;cases&gt;&lt;case level=&quot;1&quot; selected=&quot;0&quot; break=&quot;0&quot; topMinSpacing=&quot;7&quot; topMaxSpacing=&quot;11&quot; bottomMinSpacing=&quot;0&quot; bottomMaxSpacing=&quot;0&quot;&gt;&lt;element field=&quot;topic&quot; type=&quot;autoshape&quot; autoShapeType=&quot;1&quot;&gt;&lt;paragraphformat alignment=&quot;1&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1&quot; /&gt;&lt;/element&gt;&lt;/case&gt;&lt;case level=&quot;1&quot; selected=&quot;1&quot; break=&quot;0&quot; topMinSpacing=&quot;7&quot; topMaxSpacing=&quot;11&quot; bottomMinSpacing=&quot;0&quot; bottomMaxSpacing=&quot;0&quot;&gt;&lt;element field=&quot;topic&quot; type=&quot;autoshape&quot; autoShapeType=&quot;1&quot;&gt;&lt;paragraphformat alignment=&quot;1&quot; /&gt;&lt;font color=&quot;#000000&quot; /&gt;&lt;/element&gt;&lt;element field=&quot;responsible&quot; type=&quot;autoshape&quot; autoShapeType=&quot;1&quot;&gt;&lt;paragraphformat alignment=&quot;1&quot; /&gt;&lt;font color=&quot;#000000&quot; /&gt;&lt;/element&gt;&lt;element field=&quot;freecolumn&quot; type=&quot;autoshape&quot; autoShapeType=&quot;1&quot;&gt;&lt;paragraphformat alignment=&quot;1&quot; /&gt;&lt;font color=&quot;#000000&quot; /&gt;&lt;/element&gt;&lt;element field=&quot;timeslot&quot; type=&quot;autoshape&quot; autoShapeType=&quot;1&quot;&gt;&lt;paragraphformat alignment=&quot;1&quot; /&gt;&lt;font color=&quot;#000000&quot; /&gt;&lt;/element&gt;&lt;element field=&quot;pageno&quot; type=&quot;autoshape&quot; autoShapeType=&quot;1&quot;&gt;&lt;paragraphformat alignment=&quot;1&quot; /&gt;&lt;font color=&quot;#000000&quot; /&gt;&lt;/element&gt;&lt;/case&gt;&lt;case level=&quot;2&quot; selected=&quot;0&quot; break=&quot;0&quot; topMinSpacing=&quot;3&quot; topMaxSpacing=&quot;6&quot; bottomMinSpacing=&quot;0&quot; bottomMaxSpacing=&quot;0&quot;&gt;&lt;element field=&quot;topic&quot; type=&quot;autoshape&quot; autoShapeType=&quot;1&quot;&gt;&lt;paragraphformat alignment=&quot;1&quot; firstLineIndent=&quot;-0.875&quot; leftIndent=&quot;0.875&quot; /&gt;&lt;bulletformat character=&quot;8226&quot; relativeSize=&quot;1&quot; useTextColor=&quot;0&quot; useTextFont=&quot;1&quot; color=&quot;#879BAA&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1&quot; /&gt;&lt;/element&gt;&lt;/case&gt;&lt;case level=&quot;2&quot; selected=&quot;1&quot; break=&quot;0&quot; topMinSpacing=&quot;3&quot; topMaxSpacing=&quot;6&quot; bottomMinSpacing=&quot;0&quot; bottomMaxSpacing=&quot;0&quot;&gt;&lt;element field=&quot;topic&quot; type=&quot;autoshape&quot; autoShapeType=&quot;1&quot;&gt;&lt;paragraphformat alignment=&quot;1&quot; firstLineIndent=&quot;-0.875&quot; leftIndent=&quot;0.875&quot; /&gt;&lt;font color=&quot;#000000&quot; /&gt;&lt;bulletformat character=&quot;8226&quot; relativeSize=&quot;1&quot; useTextColor=&quot;0&quot; useTextFont=&quot;1&quot; color=&quot;#879BAA&quot; /&gt;&lt;/element&gt;&lt;element field=&quot;responsible&quot; type=&quot;autoshape&quot; autoShapeType=&quot;1&quot;&gt;&lt;paragraphformat alignment=&quot;1&quot; /&gt;&lt;font color=&quot;#000000&quot; /&gt;&lt;/element&gt;&lt;element field=&quot;freecolumn&quot; type=&quot;autoshape&quot; autoShapeType=&quot;1&quot;&gt;&lt;paragraphformat alignment=&quot;1&quot; /&gt;&lt;font color=&quot;#000000&quot; /&gt;&lt;/element&gt;&lt;element field=&quot;timeslot&quot; type=&quot;autoshape&quot; autoShapeType=&quot;1&quot;&gt;&lt;paragraphformat alignment=&quot;1&quot; /&gt;&lt;font color=&quot;#000000&quot; /&gt;&lt;/element&gt;&lt;element field=&quot;pageno&quot; type=&quot;autoshape&quot; autoShapeType=&quot;1&quot;&gt;&lt;paragraphformat alignment=&quot;1&quot; /&gt;&lt;font color=&quot;#000000&quot; /&gt;&lt;/element&gt;&lt;/case&gt;&lt;case level=&quot;1&quot; selected=&quot;0&quot; break=&quot;1&quot; topMinSpacing=&quot;7&quot; topMaxSpacing=&quot;11&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1&quot; /&gt;&lt;font italic=&quot;1&quot; /&gt;&lt;/element&gt;&lt;/case&gt;&lt;case level=&quot;1&quot; selected=&quot;1&quot; break=&quot;1&quot; topMinSpacing=&quot;7&quot; topMaxSpacing=&quot;11&quot; bottomMinSpacing=&quot;0&quot; bottomMaxSpacing=&quot;0&quot;&gt;&lt;element field=&quot;topic&quot; type=&quot;autoshape&quot; autoShapeType=&quot;1&quot;&gt;&lt;paragraphformat alignment=&quot;1&quot; /&gt;&lt;font color=&quot;#000000&quot; italic=&quot;1&quot; /&gt;&lt;/element&gt;&lt;element field=&quot;responsible&quot; type=&quot;autoshape&quot; autoShapeType=&quot;1&quot;&gt;&lt;paragraphformat alignment=&quot;1&quot; /&gt;&lt;font color=&quot;#000000&quot; italic=&quot;1&quot; /&gt;&lt;/element&gt;&lt;element field=&quot;freecolumn&quot; type=&quot;autoshape&quot; autoShapeType=&quot;1&quot;&gt;&lt;paragraphformat alignment=&quot;1&quot; /&gt;&lt;font color=&quot;#000000&quot; italic=&quot;1&quot; /&gt;&lt;/element&gt;&lt;element field=&quot;timeslot&quot; type=&quot;autoshape&quot; autoShapeType=&quot;1&quot;&gt;&lt;paragraphformat alignment=&quot;1&quot; /&gt;&lt;font color=&quot;#000000&quot; italic=&quot;1&quot; /&gt;&lt;/element&gt;&lt;element field=&quot;pageno&quot; type=&quot;autoshape&quot; autoShapeType=&quot;1&quot;&gt;&lt;paragraphformat alignment=&quot;1&quot; /&gt;&lt;font color=&quot;#000000&quot; italic=&quot;1&quot; /&gt;&lt;/element&gt;&lt;/case&gt;&lt;case level=&quot;2&quot; selected=&quot;0&quot; break=&quot;1&quot; topMinSpacing=&quot;3&quot; topMaxSpacing=&quot;6&quot; bottomMinSpacing=&quot;0&quot; bottomMaxSpacing=&quot;0&quot;&gt;&lt;element field=&quot;topic&quot; type=&quot;autoshape&quot; autoShapeType=&quot;1&quot;&gt;&lt;paragraphformat alignment=&quot;1&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1&quot; /&gt;&lt;font italic=&quot;1&quot; /&gt;&lt;/element&gt;&lt;/case&gt;&lt;case level=&quot;2&quot; selected=&quot;1&quot; break=&quot;1&quot; topMinSpacing=&quot;3&quot; topMaxSpacing=&quot;6&quot; bottomMinSpacing=&quot;0&quot; bottomMaxSpacing=&quot;0&quot;&gt;&lt;element field=&quot;topic&quot; type=&quot;autoshape&quot; autoShapeType=&quot;1&quot;&gt;&lt;paragraphformat alignment=&quot;1&quot; /&gt;&lt;font color=&quot;#000000&quot; italic=&quot;1&quot; /&gt;&lt;/element&gt;&lt;element field=&quot;responsible&quot; type=&quot;autoshape&quot; autoShapeType=&quot;1&quot;&gt;&lt;paragraphformat alignment=&quot;1&quot; /&gt;&lt;font color=&quot;#000000&quot; italic=&quot;1&quot; /&gt;&lt;/element&gt;&lt;element field=&quot;freecolumn&quot; type=&quot;autoshape&quot; autoShapeType=&quot;1&quot;&gt;&lt;paragraphformat alignment=&quot;1&quot; /&gt;&lt;font color=&quot;#000000&quot; italic=&quot;1&quot; /&gt;&lt;/element&gt;&lt;element field=&quot;timeslot&quot; type=&quot;autoshape&quot; autoShapeType=&quot;1&quot;&gt;&lt;paragraphformat alignment=&quot;1&quot; /&gt;&lt;font color=&quot;#000000&quot; italic=&quot;1&quot; /&gt;&lt;/element&gt;&lt;element field=&quot;pageno&quot; type=&quot;autoshape&quot; autoShapeType=&quot;1&quot;&gt;&lt;paragraphformat alignment=&quot;1&quot; /&gt;&lt;font color=&quot;#000000&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S FA Benchmarking 2014&amp;#xD;&amp;#xA;Procurement&quot; subtitle=&quot;Agenda&quot; sizingModeId=&quot;1&quot; fontSize=&quot;16&quot; startTime=&quot;540&quot; timeFormatId=&quot;1&quot; startItemNo=&quot;1&quot; createSingleAgendaSlide=&quot;0&quot; createSeparatingSlides=&quot;1&quot; createBackupSlide=&quot;0&quot; layoutId=&quot;2_2&quot; createSections=&quot;0&quot; backupSlideId=&quot;&quot;&gt;&lt;columns&gt;&lt;column field=&quot;timeslot&quot; label=&quot;Time Slot&quot; visible=&quot;1&quot; checked=&quot;0&quot; leftSpacing=&quot;0&quot; rightSpacing=&quot;16&quot; dock=&quot;1&quot; /&gt;&lt;column field=&quot;itemno&quot; label=&quot;No.&quot; visible=&quot;0&quot; checked=&quot;0&quot; leftSpacing=&quot;16&quot; rightSpacing=&quot;16&quot; dock=&quot;1&quot; /&gt;&lt;column field=&quot;topic&quot; label=&quot;Topic&quot; leftSpacing=&quot;16&quot; rightSpacing=&quot;16&quot; dock=&quot;1&quot; /&gt;&lt;column field=&quot;responsible&quot; label=&quot;Responsible&quot; visible=&quot;1&quot; checked=&quot;0&quot; leftSpacing=&quot;16&quot; rightSpacing=&quot;16&quot; dock=&quot;1&quot; /&gt;&lt;column field=&quot;freecolumn&quot; label=&quot;&quot; visible=&quot;1&quot; checked=&quot;0&quot; leftSpacing=&quot;16&quot; rightSpacing=&quot;16&quot; dock=&quot;1&quot; /&gt;&lt;column field=&quot;pageno&quot; label=&quot;Page No.&quot; visible=&quot;1&quot; checked=&quot;0&quot; leftSpacing=&quot;16&quot; rightSpacing=&quot;0&quot; dock=&quot;1&quot; /&gt;&lt;/columns&gt;&lt;items&gt;&lt;item duration=&quot;30&quot; level=&quot;1&quot; generateAgendaSlide=&quot;1&quot; showAgendaItem=&quot;1&quot; isBreak=&quot;0&quot; itemNo=&quot;1&quot; subItemNo=&quot;0&quot; topic=&quot;...&quot; agendaSlideId=&quot;850a9fc7-d19d-4a3c-a5cb-31a854e7e005&quot; /&gt;&lt;/items&gt;&lt;/agenda&gt;&lt;/contents&gt;&lt;/ee4p&gt;"/>
  <p:tag name="EE4P_AGENDAWIZARDSTYLE" val="Siemens 4:3"/>
  <p:tag name="THINKCELLUNDODONOTDELETE" val="0"/>
  <p:tag name="CDT_TEMPLATEVERSION" val="2.1.0"/>
  <p:tag name="CDT_VERSION" val="4.2.0.0"/>
  <p:tag name="CDT_P4PP_HISTORY" val="&#10;&#10;Updated from Template V2.0.0 to V2.1.0 using P4PP V4.2.0.1"/>
  <p:tag name="CDT_CUST_COL10" val="153"/>
  <p:tag name="CDT_CUST_COL8" val="11180935"/>
  <p:tag name="CDT_CUST_COL9" val="0"/>
  <p:tag name="CDT_CUST_COL7" val="0"/>
  <p:tag name="CDT_PRELIMINARY" val="False"/>
  <p:tag name="CDT_LANGUAGE" val="1033"/>
  <p:tag name="CDT_FONTSET" val="Arial"/>
  <p:tag name="CDT_PATH" val="False"/>
  <p:tag name="CDT_FILENAME" val="False"/>
  <p:tag name="CDT_SLIDENUMBER" val="True"/>
  <p:tag name="CDT_ACTUALDATE" val="True"/>
  <p:tag name="CDT_DATEVALUE" val="December 2015"/>
  <p:tag name="CDT_AUTHOR" val="True"/>
  <p:tag name="CDT_AUTHORTEXT" val="Siemens Process Industries and Drives"/>
  <p:tag name="CDT_CATEGORY2" val="%"/>
  <p:tag name="CDT_TITLE" val="Digitalization in Process Industries"/>
  <p:tag name="CDT_NAVTEXT" val="True"/>
  <p:tag name="CDT_INTERSECTSLIDES" val="False"/>
  <p:tag name="CDT_TYPE_OF_INDEXSLIDE" val="3"/>
  <p:tag name="CDT_AGENDALEVELS" val="1"/>
  <p:tag name="CDT_NAVBARLEVELS" val="1"/>
  <p:tag name="CDT_NAVBAR_FONTSIZE" val="0"/>
  <p:tag name="CDT_KEYVISUAL_NAME" val="X:\unknown picture.jpg"/>
  <p:tag name="CDT_CONTACT_NAME" val=""/>
  <p:tag name="CDT_CONTACT_ORG" val=""/>
  <p:tag name="CDT_CONTACT_ADDRESS1" val=""/>
  <p:tag name="CDT_CONTACT_ADDRESS2" val=""/>
  <p:tag name="CDT_CONTACT_FON" val=""/>
  <p:tag name="CDT_CONTACT_MAIL" val=""/>
  <p:tag name="CDT_CONTACT_FUNCTION" val=""/>
  <p:tag name="CDT_CONTACT_FAX" val=""/>
  <p:tag name="CDT_CONTACT_MOBILE" val=""/>
  <p:tag name="CDT_CONTACT_NAME_ENABLED" val="True"/>
  <p:tag name="CDT_CONTACT_ORG_ENABLED" val="True"/>
  <p:tag name="CDT_CONTACT_ADDRESS1_ENABLED" val="True"/>
  <p:tag name="CDT_CONTACT_ADDRESS2_ENABLED" val="True"/>
  <p:tag name="CDT_CONTACT_FON_ENABLED" val="True"/>
  <p:tag name="CDT_CONTACT_MAIL_ENABLED" val="True"/>
  <p:tag name="CDT_CONTACT_FUNCTION_ENABLED" val="True"/>
  <p:tag name="CDT_CONTACT_FAX_ENABLED" val="True"/>
  <p:tag name="CDT_CONTACT_MOBILE_ENABLED" val="True"/>
  <p:tag name="CDT_ACTIVE_CP" val="0"/>
  <p:tag name="CDT_CUST_COL1" val="11180935"/>
  <p:tag name="CDT_CUST_COL2" val="16777215"/>
  <p:tag name="CDT_CUST_COL3" val="4601635"/>
  <p:tag name="CDT_CUST_COL4" val="16777215"/>
  <p:tag name="CDT_CUST_COL5" val="13490135"/>
  <p:tag name="CDT_CUST_COL6" val="0"/>
  <p:tag name="CDT_LAST_TITLE" val="Digitalization in Process Industries"/>
  <p:tag name="CDT_CREATORVERSION" val="4.2.0.1"/>
  <p:tag name="CDT_CUSTOMER_NAME" val="Siemens AG, Industry Sector"/>
  <p:tag name="CDT_CATEGORY" val="siemens.com"/>
  <p:tag name="CDT_CONFIDENTIALITY" val="0"/>
  <p:tag name="CDT_NAVI_ACTUAL" val="False"/>
</p:tagLst>
</file>

<file path=ppt/tags/tag1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5:0-0-326,7-960,5"/>
  <p:tag name="CDT_MASTERSHAPE2" val="16:0-0-326,7-960,5"/>
  <p:tag name="CDT_MASTERSHAPE3" val="57350:326,7-26,62496-68,50504-933,8749"/>
  <p:tag name="CDT_MASTERSHAPE4" val="57351:295,7487-26,62496-30,95134-933,8749"/>
  <p:tag name="CDT_MASTERSHAPE5" val="12:0-480,25-0,1250394-0,1250394"/>
  <p:tag name="CDT_MASTERSHAPE6" val="13:0-49,37504-76,20732-136,063"/>
  <p:tag name="CDT_MASTERSHAPE7" val="14:485,5-0-34-960,5"/>
  <p:tag name="CDT_MASTERSHAPE8" val="10:485,5-695,75-34-264,75"/>
  <p:tag name="CDT_LINEUNVISIBLE" val="True"/>
</p:tagLst>
</file>

<file path=ppt/tags/tag1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406,08-960,5"/>
  <p:tag name="CDT_MASTERSHAPE2" val="17:0-0-406,08-960,5"/>
  <p:tag name="CDT_MASTERSHAPE3" val="57350:337,575-26,62496-68,50504-933,8749"/>
  <p:tag name="CDT_MASTERSHAPE4" val="57351:406,08-26,62496-30,95134-933,8749"/>
  <p:tag name="CDT_MASTERSHAPE5" val="11:0-480,25-0,1250394-0,1250394"/>
  <p:tag name="CDT_MASTERSHAPE6" val="14:0-49,37504-76,20732-136,063"/>
  <p:tag name="CDT_MASTERSHAPE7" val="15:485,5-0-34-960,5"/>
  <p:tag name="CDT_MASTERSHAPE8" val="12:485,5-695,75-34-264,75"/>
  <p:tag name="CDT_LINEUNVISIBLE" val="True"/>
</p:tagLst>
</file>

<file path=ppt/tags/tag1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2" val="17:0-0-540-960,5"/>
  <p:tag name="CDT_MASTERSHAPE3" val="57350:190,6199-26,62496-99,70441-933,8749"/>
  <p:tag name="CDT_MASTERSHAPE4" val="11:0-480,25-0,1250394-0,1250394"/>
  <p:tag name="CDT_MASTERSHAPE5" val="12:0-49,37504-76,20732-136,063"/>
  <p:tag name="CDT_MASTERSHAPE6" val="15:485,5-0-34-960,5"/>
  <p:tag name="CDT_MASTERSHAPE7" val="57351:190,62-26,62504-30,95134-933,8749"/>
  <p:tag name="CDT_MASTERSHAPE8" val="13:485,5-695,75-34-264,75"/>
  <p:tag name="CDT_LINEUNVISIBLE" val="True"/>
</p:tagLst>
</file>

<file path=ppt/tags/tag1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16:0-0-540-960,5"/>
  <p:tag name="CDT_MASTERSHAPE2" val="17:0-0-540-960,5"/>
  <p:tag name="CDT_MASTERSHAPE3" val="57350:235,2668-26,62496-99,70441-933,8749"/>
  <p:tag name="CDT_MASTERSHAPE4" val="11:0-480,25-0,1250394-0,1250394"/>
  <p:tag name="CDT_MASTERSHAPE5" val="13:0-49,37504-76,20732-136,063"/>
  <p:tag name="CDT_MASTERSHAPE6" val="15:485,5-0-34-960,5"/>
  <p:tag name="CDT_MASTERSHAPE7" val="57351:304-26,62504-30,95134-933,8749"/>
  <p:tag name="CDT_MASTERSHAPE8" val="12:485,5-695,75-34-264,75"/>
  <p:tag name="CDT_LINEUNVISIBLE" val="True"/>
</p:tagLst>
</file>

<file path=ppt/tags/tag1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326,75-960,5"/>
  <p:tag name="CDT_MASTERSHAPE2" val="57350:326,7-26,62504-68,50504-933,8749"/>
  <p:tag name="CDT_MASTERSHAPE3" val="57351:295,7487-26,62504-30,95134-933,8749"/>
  <p:tag name="CDT_MASTERSHAPE4" val="6:0-480,25-0,1250394-0,1250394"/>
  <p:tag name="CDT_MASTERSHAPE5" val="8:0-809,1249-63,37504-113,375"/>
  <p:tag name="CDT_LINEUNVISIBLE" val="True"/>
</p:tagLst>
</file>

<file path=ppt/tags/tag1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7:0-0-406,5005-960,5"/>
  <p:tag name="CDT_MASTERSHAPE2" val="57350:337,575-26,62504-68,50504-933,8749"/>
  <p:tag name="CDT_MASTERSHAPE3" val="57351:406,08-26,62504-30,95134-933,8749"/>
  <p:tag name="CDT_MASTERSHAPE4" val="6:0-480,25-0,1250394-0,1250394"/>
  <p:tag name="CDT_MASTERSHAPE5" val="9:0-809,1249-63,37504-113,375"/>
  <p:tag name="CDT_LINEUNVISIBLE" val="True"/>
</p:tagLst>
</file>

<file path=ppt/tags/tag1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5:111,25-366,85-374,25-593,65"/>
  <p:tag name="CDT_MASTERSHAPE2" val="13:111,25-366,8501-374,25-593,6499"/>
  <p:tag name="CDT_MASTERSHAPE3" val="2:0-0-99,87504-960,5"/>
  <p:tag name="CDT_MASTERSHAPE4" val="7:111,25-0-374,25-355,51"/>
  <p:tag name="CDT_MASTERSHAPE5" val="11:111,25-0-374,25-355,51"/>
  <p:tag name="CDT_LINEUNVISIBLE" val="True"/>
</p:tagLst>
</file>

<file path=ppt/tags/tag1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13:111,25-49,37504-374,25-306,1349"/>
  <p:tag name="CDT_MASTERSHAPE3" val="5:111,25-366,85-374,25-593,65"/>
  <p:tag name="CDT_LINEUNVISIBLE" val="True"/>
</p:tagLst>
</file>

<file path=ppt/tags/tag1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LINEUNVISIBLE" val="True"/>
</p:tagLst>
</file>

<file path=ppt/tags/tag1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LINEUNVISIBLE" val="True"/>
</p:tagLst>
</file>

<file path=ppt/tags/tag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0"/>
  <p:tag name="CDT_PROT_WIDTH" val="960,5"/>
  <p:tag name="CDT_PROT_HEIGHT" val="99,87504"/>
  <p:tag name="CDT_FILLUNVISIBLE" val="False"/>
  <p:tag name="CDT_LINEUNVISIBLE" val="True"/>
  <p:tag name="CDT_DELETE_ONEVENT_NEWPRES" val="False"/>
</p:tagLst>
</file>

<file path=ppt/tags/tag2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LINEUNVISIBLE" val="True"/>
</p:tagLst>
</file>

<file path=ppt/tags/tag2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430,875"/>
  <p:tag name="CDT_MASTERSHAPE3" val="4:111,25-491,625-374,25-430,875"/>
  <p:tag name="CDT_LINEUNVISIBLE" val="True"/>
</p:tagLst>
</file>

<file path=ppt/tags/tag2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LINEUNVISIBLE" val="True"/>
</p:tagLst>
</file>

<file path=ppt/tags/tag23.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83,5"/>
  <p:tag name="CDT_MASTERSHAPE3" val="13:111,25-344,125-374,25-283,4646"/>
  <p:tag name="CDT_MASTERSHAPE4" val="12:111,25-639,0355-374,25-283,4646"/>
  <p:tag name="CDT_LINEUNVISIBLE" val="True"/>
</p:tagLst>
</file>

<file path=ppt/tags/tag24.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430,875"/>
  <p:tag name="CDT_MASTERSHAPE3" val="4:111,25-491,625-181,375-430,875"/>
  <p:tag name="CDT_MASTERSHAPE4" val="5:304-49,37504-181,5-430,875"/>
  <p:tag name="CDT_MASTERSHAPE5" val="6:304-491,625-181,5-430,875"/>
  <p:tag name="CDT_LINEUNVISIBLE" val="True"/>
</p:tagLst>
</file>

<file path=ppt/tags/tag25.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5:111,25-820,4528-374,25-102,0472"/>
  <p:tag name="CDT_LINEUNVISIBLE" val="True"/>
</p:tagLst>
</file>

<file path=ppt/tags/tag26.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646,3749"/>
  <p:tag name="CDT_MASTERSHAPE3" val="5:111,25-820,4528-374,25-102,0472"/>
  <p:tag name="CDT_LINEUNVISIBLE" val="True"/>
</p:tagLst>
</file>

<file path=ppt/tags/tag27.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532,9134"/>
  <p:tag name="CDT_MASTERSHAPE3" val="6:111,25-820,4528-374,25-102,0472"/>
  <p:tag name="CDT_LINEUNVISIBLE" val="True"/>
</p:tagLst>
</file>

<file path=ppt/tags/tag28.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317,4803"/>
  <p:tag name="CDT_MASTERSHAPE3" val="13:111,25-378,2697-374,25-317,4803"/>
  <p:tag name="CDT_MASTERSHAPE4" val="6:111,25-820,4528-374,25-102,0472"/>
  <p:tag name="CDT_LINEUNVISIBLE" val="True"/>
</p:tagLst>
</file>

<file path=ppt/tags/tag29.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49,37504-374,25-204,0945"/>
  <p:tag name="CDT_MASTERSHAPE3" val="13:111,25-264,7559-374,25-215,4941"/>
  <p:tag name="CDT_MASTERSHAPE4" val="12:111,25-491,625-374,25-204,125"/>
  <p:tag name="CDT_MASTERSHAPE5" val="7:111,25-820,4528-374,25-102,0472"/>
  <p:tag name="CDT_LINEUNVISIBLE" val="True"/>
</p:tagLst>
</file>

<file path=ppt/tags/tag3.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2"/>
  <p:tag name="CDT_PROT_TOP" val="0"/>
  <p:tag name="CDT_PROT_LEFT" val="0"/>
  <p:tag name="CDT_PROT_WIDTH" val="960,5"/>
  <p:tag name="CDT_PROT_HEIGHT" val="99,87504"/>
  <p:tag name="CDT_FILLUNVISIBLE" val="True"/>
  <p:tag name="CDT_LINEUNVISIBLE" val="True"/>
  <p:tag name="CDT_DELETE_ONEVENT_NEWPRES" val="False"/>
</p:tagLst>
</file>

<file path=ppt/tags/tag30.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646,3749"/>
  <p:tag name="CDT_MASTERSHAPE3" val="13:304-49,37504-181,5-646,3749"/>
  <p:tag name="CDT_MASTERSHAPE4" val="6:111,25-820,4528-374,25-102,0472"/>
  <p:tag name="CDT_LINEUNVISIBLE" val="True"/>
</p:tagLst>
</file>

<file path=ppt/tags/tag31.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FIXED" val="True"/>
  <p:tag name="CDT_DESIGN_NAME" val="Siemens 2013 – 16:9"/>
  <p:tag name="CDT_MASTERSHAPE1" val="2:0-0-99,87504-960,5"/>
  <p:tag name="CDT_MASTERSHAPE2" val="3:111,2501-49,37504-181,375-317,4803"/>
  <p:tag name="CDT_MASTERSHAPE3" val="13:111,2501-378,2697-181,5-317,4803"/>
  <p:tag name="CDT_MASTERSHAPE4" val="12:303,9999-49,37504-181,5-317,4803"/>
  <p:tag name="CDT_MASTERSHAPE5" val="15:304-378,2697-181,5-317,4803"/>
  <p:tag name="CDT_MASTERSHAPE6" val="10:111,25-820,4528-374,25-102,0472"/>
  <p:tag name="CDT_LINEUNVISIBLE" val="True"/>
</p:tagLst>
</file>

<file path=ppt/tags/tag32.xml><?xml version="1.0" encoding="utf-8"?>
<p:tagLst xmlns:a="http://schemas.openxmlformats.org/drawingml/2006/main" xmlns:r="http://schemas.openxmlformats.org/officeDocument/2006/relationships" xmlns:p="http://schemas.openxmlformats.org/presentationml/2006/main">
  <p:tag name="CDT_PROT" val="3"/>
  <p:tag name="CDT_PROT_TOP" val="0"/>
  <p:tag name="CDT_PROT_LEFT" val="0"/>
  <p:tag name="CDT_PROT_WIDTH" val="0"/>
  <p:tag name="CDT_PROT_HEIGHT" val="0"/>
  <p:tag name="CDT_LINEUNVISIBLE" val="True"/>
  <p:tag name="CDT_LINEFIXED" val="True"/>
  <p:tag name="CDT_DESIGN_NAME" val="Siemens 2013 – 16:9"/>
  <p:tag name="CDT_MASTERSHAPE1" val="15:0-0-99,87504-960,5"/>
  <p:tag name="CDT_MASTERSHAPE2" val="3078:0-0-99,87504-960,5"/>
  <p:tag name="CDT_MASTERSHAPE3" val="3079:111,25-49,37504-374,25-646,3749"/>
  <p:tag name="CDT_MASTERSHAPE4" val="10:0-809,1142-63,50622-113,3858"/>
  <p:tag name="CDT_MASTERSHAPE5" val="16:485,5-0-34-960,5"/>
  <p:tag name="CDT_MASTERSHAPE6" val="17:519,5-0-20,5-309,6244"/>
  <p:tag name="CDT_MASTERSHAPE7" val="18:519,5-0-20,5-138,9988"/>
  <p:tag name="CDT_MASTERSHAPE8" val="19:519,5-298,2492-20,5-662,2507"/>
  <p:tag name="CDT_MASTERSHAPE9" val="20:0-480,25-0,1250394-0,1250394"/>
  <p:tag name="CDT_MASTERSHAPE10" val="7:0-0-0-0"/>
  <p:tag name="CDT_MASTERSHAPE11" val="9:0-0-0-0"/>
  <p:tag name="CDT_MASTERSHAPE12" val="11:0-0-0-0"/>
  <p:tag name="CDT_MASTERSHAPE13" val="12:0-0-0-0"/>
  <p:tag name="CDT_MASTERSHAPE14" val="13:0-0-0-0"/>
  <p:tag name="CDT_MASTERSHAPE15" val="14:0-0-0-0"/>
  <p:tag name="CDT_MASTERSHAPE16" val="3080:0-0-0-0"/>
  <p:tag name="CDT_MASTERSHAPE17" val="3081:0-0-0-0"/>
  <p:tag name="CDT_MASTERSHAPE18" val="3082:0-0-0-0"/>
  <p:tag name="CDT_MASTERSHAPE19" val="3083:0-0-0-0"/>
  <p:tag name="CDT_MASTERSHAPE20" val="3084:0-0-0-0"/>
  <p:tag name="CDT_MASTERSHAPE21" val="3085:0-0-0-0"/>
  <p:tag name="CDT_MASTERSHAPE22" val="3086:0-0-0-0"/>
  <p:tag name="CDT_MASTERSHAPE23" val="3087:0-0-0-0"/>
  <p:tag name="CDT_MASTERSHAPE24" val="3088:0-0-0-0"/>
  <p:tag name="CDT_MASTERSHAPE25" val="3089:0-0-0-0"/>
  <p:tag name="CDT_MASTERSHAPE26" val="3090:0-0-0-0"/>
  <p:tag name="CDT_MASTERSHAPE27" val="3091:0-0-0-0"/>
  <p:tag name="CDT_MASTERSHAPE28" val="3092:0-0-0-0"/>
  <p:tag name="CDT_MASTERSHAPE29" val="3093:0-0-0-0"/>
  <p:tag name="CDT_MASTERSHAPE30" val="3094:0-0-0-0"/>
  <p:tag name="CDT_MASTERSHAPE31" val="3095:0-0-0-0"/>
  <p:tag name="CDT_MASTERSHAPE32" val="3096:0-0-0-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aNznyqXjWnVOnMGywoA2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H3.sM8xoEKv5J9Mh5HU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0jv74Ak50adf04d2Pys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iEmIHuOsEmcmK8ytH9p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oaNznyqXjWnVOnMGywoA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PROT" val="3"/>
  <p:tag name="CDT_PROT_TOP" val="0"/>
  <p:tag name="CDT_PROT_LEFT" val="809,1142"/>
  <p:tag name="CDT_PROT_WIDTH" val="113,3858"/>
  <p:tag name="CDT_PROT_HEIGHT" val="63,50622"/>
  <p:tag name="CDT_FILLUNVISIBLE" val="True"/>
  <p:tag name="CDT_LINEUNVISIBLE" val="Tru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Lst>
</file>

<file path=ppt/tags/tag52.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FILLUNVISIBLE" val="True"/>
  <p:tag name="CDT_LINEUNVISIBLE" val="True"/>
  <p:tag name="CDT_AUTODIALOG" val="1"/>
  <p:tag name="CDT_EXTCOL" val="True"/>
  <p:tag name="CDT_COLTX_NEW" val="24"/>
  <p:tag name="CDT_TARGETSHAPE_NEW" val="1"/>
  <p:tag name="CDT_PROT" val="3"/>
  <p:tag name="CDT_PROT_TOP" val="485,5"/>
  <p:tag name="CDT_PROT_LEFT" val="0"/>
  <p:tag name="CDT_PROT_WIDTH" val="960,5"/>
  <p:tag name="CDT_PROT_HEIGHT" val="3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4"/>
  <p:tag name="CDT_TARGETSHAPE_NEW" val="1"/>
  <p:tag name="CDT_PROT" val="3"/>
  <p:tag name="CDT_PROT_TOP" val="485,5"/>
  <p:tag name="CDT_PROT_LEFT" val="0"/>
  <p:tag name="CDT_PROT_WIDTH" val="960,5"/>
  <p:tag name="CDT_PROT_HEIGHT" val="34"/>
  <p:tag name="CDT_FILLUNVISIBLE" val="True"/>
  <p:tag name="CDT_LINEUNVISIBLE" val="True"/>
</p:tagLst>
</file>

<file path=ppt/tags/tag7.xml><?xml version="1.0" encoding="utf-8"?>
<p:tagLst xmlns:a="http://schemas.openxmlformats.org/drawingml/2006/main" xmlns:r="http://schemas.openxmlformats.org/officeDocument/2006/relationships" xmlns:p="http://schemas.openxmlformats.org/presentationml/2006/main">
  <p:tag name="CDT_AUTODIALOG" val="1"/>
  <p:tag name="CDT_FILLFIXED" val="True"/>
  <p:tag name="CDT_LINEFIXED" val="True"/>
  <p:tag name="CDT_EXTCOL" val="True"/>
  <p:tag name="CDT_COLTX_NEW" val="25"/>
  <p:tag name="CDT_TARGETSHAPE_NEW" val="8"/>
  <p:tag name="CDT_PROT" val="3"/>
  <p:tag name="CDT_PROT_TOP" val="519,5"/>
  <p:tag name="CDT_PROT_LEFT" val="0"/>
  <p:tag name="CDT_PROT_WIDTH" val="309,6244"/>
  <p:tag name="CDT_PROT_HEIGHT" val="20,5"/>
  <p:tag name="CDT_FILLUNVISIBLE" val="True"/>
  <p:tag name="CDT_LINEUNVISIBLE" val="True"/>
</p:tagLst>
</file>

<file path=ppt/tags/tag8.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5"/>
  <p:tag name="CDT_TARGETSHAPE_NEW" val="7"/>
  <p:tag name="CDT_PROT" val="3"/>
  <p:tag name="CDT_PROT_TOP" val="519,5"/>
  <p:tag name="CDT_PROT_LEFT" val="0"/>
  <p:tag name="CDT_PROT_WIDTH" val="138,9988"/>
  <p:tag name="CDT_PROT_HEIGHT" val="20,5"/>
  <p:tag name="CDT_FILLUNVISIBLE" val="True"/>
  <p:tag name="CDT_LINEUNVISIBLE" val="True"/>
</p:tagLst>
</file>

<file path=ppt/tags/tag9.xml><?xml version="1.0" encoding="utf-8"?>
<p:tagLst xmlns:a="http://schemas.openxmlformats.org/drawingml/2006/main" xmlns:r="http://schemas.openxmlformats.org/officeDocument/2006/relationships" xmlns:p="http://schemas.openxmlformats.org/presentationml/2006/main">
  <p:tag name="CDT_FILLFIXED" val="True"/>
  <p:tag name="CDT_LINEFIXED" val="True"/>
  <p:tag name="CDT_AUTODIALOG" val="1"/>
  <p:tag name="CDT_EXTCOL" val="True"/>
  <p:tag name="CDT_COLTX_NEW" val="26"/>
  <p:tag name="CDT_TARGETSHAPE_NEW" val="2"/>
  <p:tag name="CDT_PROT" val="3"/>
  <p:tag name="CDT_PROT_TOP" val="0"/>
  <p:tag name="CDT_PROT_LEFT" val="480,25"/>
  <p:tag name="CDT_PROT_WIDTH" val="0,1250394"/>
  <p:tag name="CDT_PROT_HEIGHT" val="0,1250394"/>
  <p:tag name="CDT_FILLUNVISIBLE" val="True"/>
  <p:tag name="CDT_LINEUNVISIBLE" val="True"/>
  <p:tag name="CDT_DELETE_ONEVENT_NEWPRES" val="False"/>
</p:tagLst>
</file>

<file path=ppt/theme/theme1.xml><?xml version="1.0" encoding="utf-8"?>
<a:theme xmlns:a="http://schemas.openxmlformats.org/drawingml/2006/main" name="2_Siemens 2013 – 16:9">
  <a:themeElements>
    <a:clrScheme name="Siemens AG">
      <a:dk1>
        <a:srgbClr val="000000"/>
      </a:dk1>
      <a:lt1>
        <a:srgbClr val="FFFFFF"/>
      </a:lt1>
      <a:dk2>
        <a:srgbClr val="000000"/>
      </a:dk2>
      <a:lt2>
        <a:srgbClr val="ADBECB"/>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EB780A"/>
      </a:folHlink>
    </a:clrScheme>
    <a:fontScheme name="Siemens PPT 2007 DEU">
      <a:majorFont>
        <a:latin typeface=""/>
        <a:ea typeface="ＭＳ Ｐゴシック"/>
        <a:cs typeface=""/>
      </a:majorFont>
      <a:minorFont>
        <a:latin typeface=""/>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wrap="square" lIns="108000" tIns="54000" rIns="108000" bIns="54000" numCol="1" spcCol="72000" rtlCol="0" anchor="ctr">
        <a:noAutofit/>
      </a:bodyPr>
      <a:lstStyle>
        <a:defPPr algn="ctr">
          <a:lnSpc>
            <a:spcPct val="110000"/>
          </a:lnSpc>
          <a:spcBef>
            <a:spcPct val="0"/>
          </a:spcBef>
          <a:buFont typeface="Wingdings" charset="0"/>
          <a:buNone/>
          <a:defRPr sz="1800" b="1" dirty="0" err="1" smtClean="0">
            <a:solidFill>
              <a:schemeClr val="tx1"/>
            </a:solidFill>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400" b="0" i="0" u="none" strike="noStrike" cap="none" normalizeH="0" baseline="0">
            <a:ln>
              <a:noFill/>
            </a:ln>
            <a:solidFill>
              <a:srgbClr val="000000"/>
            </a:solidFill>
            <a:effectLst/>
            <a:latin typeface="Arial" charset="0"/>
            <a:ea typeface="ヒラギノ角ゴ Pro W3" charset="0"/>
          </a:defRPr>
        </a:defPPr>
      </a:lstStyle>
    </a:lnDef>
    <a:txDef>
      <a:spPr>
        <a:noFill/>
      </a:spPr>
      <a:bodyPr wrap="square" lIns="0" tIns="0" rIns="0" bIns="0" rtlCol="0">
        <a:spAutoFit/>
      </a:bodyPr>
      <a:lstStyle>
        <a:defPPr algn="l">
          <a:lnSpc>
            <a:spcPct val="110000"/>
          </a:lnSpc>
          <a:spcBef>
            <a:spcPts val="0"/>
          </a:spcBef>
          <a:defRPr sz="1200" dirty="0" err="1" smtClean="0">
            <a:solidFill>
              <a:schemeClr val="tx1"/>
            </a:solidFill>
          </a:defRPr>
        </a:defPPr>
      </a:lstStyle>
    </a:txDef>
  </a:objectDefaults>
  <a:extraClrSchemeLst/>
</a:theme>
</file>

<file path=ppt/theme/theme2.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4ppTags>
  <Name>Chapter title (big bar down)</Name>
  <PpLayout>1</PpLayout>
  <Index>5</Index>
</p4ppTags>
</file>

<file path=customXml/item10.xml><?xml version="1.0" encoding="utf-8"?>
<p4ppTags>
  <Name>Text + Index</Name>
  <PpLayout>32</PpLayout>
  <Index>8</Index>
</p4ppTags>
</file>

<file path=customXml/item11.xml><?xml version="1.0" encoding="utf-8"?>
<p4ppTags>
  <Name>Free Content + Navigation</Name>
  <PpLayout>32</PpLayout>
  <Index>16</Index>
</p4ppTags>
</file>

<file path=customXml/item12.xml><?xml version="1.0" encoding="utf-8"?>
<p4ppTags>
  <Name>Title (big bar down)</Name>
  <PpLayout>1</PpLayout>
  <Index>1</Index>
</p4ppTags>
</file>

<file path=customXml/item13.xml><?xml version="1.0" encoding="utf-8"?>
<p4ppTags>
  <Name>Free Content</Name>
  <PpLayout>11</PpLayout>
  <Index>9</Index>
</p4ppTags>
</file>

<file path=customXml/item14.xml><?xml version="1.0" encoding="utf-8"?>
<p4ppTags>
  <Name>One object (small) + Navigation</Name>
  <PpLayout>32</PpLayout>
  <Index>18</Index>
</p4ppTags>
</file>

<file path=customXml/item15.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6.xml><?xml version="1.0" encoding="utf-8"?>
<p4ppTags>
  <Name>Two columns</Name>
  <PpLayout>29</PpLayout>
  <Index>12</Index>
</p4ppTags>
</file>

<file path=customXml/item17.xml><?xml version="1.0" encoding="utf-8"?>
<p4ppTags>
  <Name>Free Content + Navigation</Name>
  <PpLayout>32</PpLayout>
  <Index>16</Index>
</p4ppTags>
</file>

<file path=customXml/item18.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9.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4ppTags>
  <Name>One object (small)</Name>
  <PpLayout>16</PpLayout>
  <Index>11</Index>
</p4ppTags>
</file>

<file path=customXml/item20.xml><?xml version="1.0" encoding="utf-8"?>
<p4ppTags>
  <Name>Four objects + Navigation</Name>
  <PpLayout>32</PpLayout>
  <Index>22</Index>
</p4ppTags>
</file>

<file path=customXml/item21.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2.xml><?xml version="1.0" encoding="utf-8"?>
<p4ppTags>
  <Name>Two columns + Navigation</Name>
  <PpLayout>32</PpLayout>
  <Index>19</Index>
</p4ppTags>
</file>

<file path=customXml/item23.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4.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5.xml><?xml version="1.0" encoding="utf-8"?>
<p4ppTags/>
</file>

<file path=customXml/item26.xml><?xml version="1.0" encoding="utf-8"?>
<p4ppTags>
  <Name>Three columns + Navigation</Name>
  <PpLayout>32</PpLayout>
  <Index>20</Index>
</p4ppTags>
</file>

<file path=customXml/item27.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8.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9.xml><?xml version="1.0" encoding="utf-8"?>
<p4ppTags>
  <Name>Two rows</Name>
  <PpLayout>32</PpLayout>
  <Index>13</Index>
</p4ppTags>
</file>

<file path=customXml/item3.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0.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1.xml><?xml version="1.0" encoding="utf-8"?>
<p4ppTags>
  <Name>Image + Index/Contact</Name>
  <PpLayout>32</PpLayout>
  <Index>7</Index>
</p4ppTags>
</file>

<file path=customXml/item32.xml><?xml version="1.0" encoding="utf-8"?>
<p4ppTags>
  <Name>One object (large)</Name>
  <PpLayout>16</PpLayout>
  <Index>10</Index>
</p4ppTags>
</file>

<file path=customXml/item33.xml><?xml version="1.0" encoding="utf-8"?>
<p4ppTags>
  <Name>Title (big bar up)</Name>
  <PpLayout>1</PpLayout>
  <Index>2</Index>
</p4ppTags>
</file>

<file path=customXml/item34.xml><?xml version="1.0" encoding="utf-8"?>
<p4ppTags>
  <Name>Text + Index</Name>
  <PpLayout>32</PpLayout>
  <Index>8</Index>
</p4ppTags>
</file>

<file path=customXml/item35.xml><?xml version="1.0" encoding="utf-8"?>
<p4ppTags>
  <Name>One object (small) + Navigation</Name>
  <PpLayout>32</PpLayout>
  <Index>18</Index>
</p4ppTags>
</file>

<file path=customXml/item36.xml><?xml version="1.0" encoding="utf-8"?>
<?mso-contentType ?>
<FormTemplates xmlns="http://schemas.microsoft.com/sharepoint/v3/contenttype/forms">
  <Display>DocumentLibraryForm</Display>
  <Edit>DocumentLibraryForm</Edit>
  <New>DocumentLibraryForm</New>
</FormTemplates>
</file>

<file path=customXml/item37.xml><?xml version="1.0" encoding="utf-8"?>
<p4ppTags>
  <Name>Four objects + Navigation</Name>
  <PpLayout>32</PpLayout>
  <Index>22</Index>
</p4ppTags>
</file>

<file path=customXml/item38.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9.xml><?xml version="1.0" encoding="utf-8"?>
<p4ppTags>
  <Name>Title fullscreen (big bar down)</Name>
  <PpLayout>1</PpLayout>
  <Index>3</Index>
</p4ppTags>
</file>

<file path=customXml/item4.xml><?xml version="1.0" encoding="utf-8"?>
<p4ppTags>
  <Name>Two rows</Name>
  <PpLayout>32</PpLayout>
  <Index>13</Index>
</p4ppTags>
</file>

<file path=customXml/item40.xml><?xml version="1.0" encoding="utf-8"?>
<p4ppTags>
  <Name>Two columns</Name>
  <PpLayout>29</PpLayout>
  <Index>12</Index>
</p4ppTags>
</file>

<file path=customXml/item41.xml><?xml version="1.0" encoding="utf-8"?>
<p4ppTags>
  <Name>Three columns</Name>
  <PpLayout>32</PpLayout>
  <Index>14</Index>
</p4ppTags>
</file>

<file path=customXml/item42.xml><?xml version="1.0" encoding="utf-8"?>
<p:properties xmlns:p="http://schemas.microsoft.com/office/2006/metadata/properties" xmlns:xsi="http://www.w3.org/2001/XMLSchema-instance">
  <documentManagement>
    <Sub_x0020_Product_x0020_Group xmlns="55c9f597-787b-4714-9fdd-f502b87727b5" xsi:nil="true"/>
    <Product_x0020_Group xmlns="8588f3e9-8c00-4886-9def-0d9ce09ea432" xsi:nil="true"/>
    <Product_x0020_mit_x0020_Key xmlns="55c9f597-787b-4714-9fdd-f502b87727b5" xsi:nil="true"/>
    <publication_x0020_date xmlns="8588f3e9-8c00-4886-9def-0d9ce09ea432" xsi:nil="true"/>
    <Language xmlns="8588f3e9-8c00-4886-9def-0d9ce09ea432">German (de)</Language>
    <Scope xmlns="8588f3e9-8c00-4886-9def-0d9ce09ea432" xsi:nil="true"/>
    <Website xmlns="55c9f597-787b-4714-9fdd-f502b87727b5" xsi:nil="true"/>
    <Related_x0020_to xmlns="8588f3e9-8c00-4886-9def-0d9ce09ea432">mpm_10021404</Related_x0020_to>
  </documentManagement>
</p:properties>
</file>

<file path=customXml/item43.xml><?xml version="1.0" encoding="utf-8"?>
<p4ppTags>
  <Name>Four objects</Name>
  <PpLayout>24</PpLayout>
  <Index>15</Index>
</p4ppTags>
</file>

<file path=customXml/item44.xml><?xml version="1.0" encoding="utf-8"?>
<p4ppTags>
  <Name>Two columns + Navigation</Name>
  <PpLayout>32</PpLayout>
  <Index>19</Index>
</p4ppTags>
</file>

<file path=customXml/item45.xml><?xml version="1.0" encoding="utf-8"?>
<p4ppTags>
  <Name>Title (big bar down)</Name>
  <PpLayout>1</PpLayout>
  <Index>1</Index>
</p4ppTags>
</file>

<file path=customXml/item46.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7.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8.xml><?xml version="1.0" encoding="utf-8"?>
<p4ppTags>
  <Name>Text + Index</Name>
  <PpLayout>32</PpLayout>
  <Index>8</Index>
</p4ppTags>
</file>

<file path=customXml/item49.xml><?xml version="1.0" encoding="utf-8"?>
<p4ppTags>
  <Name>Three columns + Navigation</Name>
  <PpLayout>32</PpLayout>
  <Index>20</Index>
</p4ppTags>
</file>

<file path=customXml/item5.xml><?xml version="1.0" encoding="utf-8"?>
<p4ppTags>
  <Name>Free Content</Name>
  <PpLayout>11</PpLayout>
  <Index>9</Index>
</p4ppTags>
</file>

<file path=customXml/item50.xml><?xml version="1.0" encoding="utf-8"?>
<p4ppTags/>
</file>

<file path=customXml/item51.xml><?xml version="1.0" encoding="utf-8"?>
<p4ppTags>
  <Name>One object (large) + Navigation</Name>
  <PpLayout>32</PpLayout>
  <Index>17</Index>
</p4ppTags>
</file>

<file path=customXml/item52.xml><?xml version="1.0" encoding="utf-8"?>
<p4ppTags>
  <Name>Three columns</Name>
  <PpLayout>32</PpLayout>
  <Index>14</Index>
</p4ppTags>
</file>

<file path=customXml/item53.xml><?xml version="1.0" encoding="utf-8"?>
<p4ppTags>
  <Name>Two rows</Name>
  <PpLayout>32</PpLayout>
  <Index>13</Index>
</p4ppTags>
</file>

<file path=customXml/item54.xml><?xml version="1.0" encoding="utf-8"?>
<p4ppTags>
  <Name>Chapter title (big bar down)</Name>
  <PpLayout>1</PpLayout>
  <Index>5</Index>
</p4ppTags>
</file>

<file path=customXml/item55.xml><?xml version="1.0" encoding="utf-8"?>
<p4ppTags>
  <Name>Title fullscreen (big bar up)</Name>
  <PpLayout>1</PpLayout>
  <Index>4</Index>
</p4ppTags>
</file>

<file path=customXml/item56.xml><?xml version="1.0" encoding="utf-8"?>
<p4ppTags>
  <Name>Chapter title (big bar up)</Name>
  <PpLayout>1</PpLayout>
  <Index>6</Index>
</p4ppTags>
</file>

<file path=customXml/item57.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8.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9.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0.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1.xml><?xml version="1.0" encoding="utf-8"?>
<p4ppTags>
  <Name>One object (small)</Name>
  <PpLayout>16</PpLayout>
  <Index>11</Index>
</p4ppTags>
</file>

<file path=customXml/item62.xml><?xml version="1.0" encoding="utf-8"?>
<p4ppTags>
  <Name>Four objects</Name>
  <PpLayout>24</PpLayout>
  <Index>15</Index>
</p4ppTags>
</file>

<file path=customXml/item63.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4.xml><?xml version="1.0" encoding="utf-8"?>
<p4ppTags>
  <Name>One object (large)</Name>
  <PpLayout>16</PpLayout>
  <Index>10</Index>
</p4ppTags>
</file>

<file path=customXml/item65.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6.xml><?xml version="1.0" encoding="utf-8"?>
<p4ppTags>
  <Name>One object (large)</Name>
  <PpLayout>16</PpLayout>
  <Index>10</Index>
</p4ppTags>
</file>

<file path=customXml/item67.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8.xml><?xml version="1.0" encoding="utf-8"?>
<p4ppTags>
  <Name>One object (large) + Navigation</Name>
  <PpLayout>32</PpLayout>
  <Index>17</Index>
</p4ppTags>
</file>

<file path=customXml/item69.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xml><?xml version="1.0" encoding="utf-8"?>
<p4ppTags>
  <Name>Two rows + Navigation</Name>
  <PpLayout>32</PpLayout>
  <Index>21</Index>
</p4ppTags>
</file>

<file path=customXml/item70.xml><?xml version="1.0" encoding="utf-8"?>
<p4ppTags>
  <Name>Title fullscreen (big bar up)</Name>
  <PpLayout>1</PpLayout>
  <Index>4</Index>
</p4ppTags>
</file>

<file path=customXml/item71.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2.xml><?xml version="1.0" encoding="utf-8"?>
<p4ppTags>
  <Name>Title fullscreen (big bar down)</Name>
  <PpLayout>1</PpLayout>
  <Index>3</Index>
</p4ppTags>
</file>

<file path=customXml/item73.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4.xml><?xml version="1.0" encoding="utf-8"?>
<p4ppTags>
  <Name>Chapter title (big bar up)</Name>
  <PpLayout>1</PpLayout>
  <Index>6</Index>
</p4ppTags>
</file>

<file path=customXml/item75.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76.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p4ppTags>
  <Name>Three columns</Name>
  <PpLayout>32</PpLayout>
  <Index>14</Index>
</p4ppTags>
</file>

<file path=customXml/item9.xml><?xml version="1.0" encoding="utf-8"?>
<ct:contentTypeSchema xmlns:ct="http://schemas.microsoft.com/office/2006/metadata/contentType" xmlns:ma="http://schemas.microsoft.com/office/2006/metadata/properties/metaAttributes" ct:_="" ma:_="" ma:contentTypeName="Document" ma:contentTypeID="0x01010072D3C8BB2D3D2549B7D50B2EA67581A2" ma:contentTypeVersion="16" ma:contentTypeDescription="Create a new document." ma:contentTypeScope="" ma:versionID="ef923a0385f6cce6ab72e2ab43ab7c94">
  <xsd:schema xmlns:xsd="http://www.w3.org/2001/XMLSchema" xmlns:xs="http://www.w3.org/2001/XMLSchema" xmlns:p="http://schemas.microsoft.com/office/2006/metadata/properties" xmlns:ns2="8588f3e9-8c00-4886-9def-0d9ce09ea432" xmlns:ns3="55c9f597-787b-4714-9fdd-f502b87727b5" targetNamespace="http://schemas.microsoft.com/office/2006/metadata/properties" ma:root="true" ma:fieldsID="afe862cf99e94fdd864ac2ffcf0fda27" ns2:_="" ns3:_="">
    <xsd:import namespace="8588f3e9-8c00-4886-9def-0d9ce09ea432"/>
    <xsd:import namespace="55c9f597-787b-4714-9fdd-f502b87727b5"/>
    <xsd:element name="properties">
      <xsd:complexType>
        <xsd:sequence>
          <xsd:element name="documentManagement">
            <xsd:complexType>
              <xsd:all>
                <xsd:element ref="ns2:Language" minOccurs="0"/>
                <xsd:element ref="ns2:Product_x0020_Group" minOccurs="0"/>
                <xsd:element ref="ns3:Sub_x0020_Product_x0020_Group" minOccurs="0"/>
                <xsd:element ref="ns3:Product_x0020_mit_x0020_Key" minOccurs="0"/>
                <xsd:element ref="ns2:Scope" minOccurs="0"/>
                <xsd:element ref="ns3:Website" minOccurs="0"/>
                <xsd:element ref="ns2:Related_x0020_to" minOccurs="0"/>
                <xsd:element ref="ns2:publication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8f3e9-8c00-4886-9def-0d9ce09ea432" elementFormDefault="qualified">
    <xsd:import namespace="http://schemas.microsoft.com/office/2006/documentManagement/types"/>
    <xsd:import namespace="http://schemas.microsoft.com/office/infopath/2007/PartnerControls"/>
    <xsd:element name="Language" ma:index="2" nillable="true" ma:displayName="Language" ma:default="English (en)" ma:description="Language with ISO 639-2 language code" ma:format="Dropdown" ma:internalName="Language">
      <xsd:simpleType>
        <xsd:union memberTypes="dms:Text">
          <xsd:simpleType>
            <xsd:restriction base="dms:Choice">
              <xsd:enumeration value="Arabic (ar)"/>
              <xsd:enumeration value="Bulgarian (bg)"/>
              <xsd:enumeration value="Chinese (zh)"/>
              <xsd:enumeration value="Croatian (hr)"/>
              <xsd:enumeration value="Czech (cs)"/>
              <xsd:enumeration value="Danish (da)"/>
              <xsd:enumeration value="Dutch (nl)"/>
              <xsd:enumeration value="English (en)"/>
              <xsd:enumeration value="Estonian (et)"/>
              <xsd:enumeration value="Finnish (fi)"/>
              <xsd:enumeration value="French (fr)"/>
              <xsd:enumeration value="German (de)"/>
              <xsd:enumeration value="Greek (el)"/>
              <xsd:enumeration value="Hebrew (he)"/>
              <xsd:enumeration value="Hindi (hi)"/>
              <xsd:enumeration value="Hungarian (hu)"/>
              <xsd:enumeration value="Indonesian (id)"/>
              <xsd:enumeration value="Italian (it)"/>
              <xsd:enumeration value="Japanese (ja)"/>
              <xsd:enumeration value="Korean (ko)"/>
              <xsd:enumeration value="Latvian (lv)"/>
              <xsd:enumeration value="Lithuanian (lt)"/>
              <xsd:enumeration value="Malay (ms)"/>
              <xsd:enumeration value="Norwegian (no)"/>
              <xsd:enumeration value="Polish (pl)"/>
              <xsd:enumeration value="Portuguese (pt)"/>
              <xsd:enumeration value="Romanian (ro)"/>
              <xsd:enumeration value="Russian (ru)"/>
              <xsd:enumeration value="Serbian (sr)"/>
              <xsd:enumeration value="Slovak (sk)"/>
              <xsd:enumeration value="Slovenian (sl)"/>
              <xsd:enumeration value="Spanish (es)"/>
              <xsd:enumeration value="Swedish (sv)"/>
              <xsd:enumeration value="Thai (th)"/>
              <xsd:enumeration value="Turkish (tr)"/>
              <xsd:enumeration value="Ukrainian (uk)"/>
              <xsd:enumeration value="Urdu (ur)"/>
              <xsd:enumeration value="Vietnamese (vi)"/>
            </xsd:restriction>
          </xsd:simpleType>
        </xsd:union>
      </xsd:simpleType>
    </xsd:element>
    <xsd:element name="Product_x0020_Group" ma:index="3" nillable="true" ma:displayName="Product Group" ma:list="{3bb70aae-c806-4775-8c7f-4173e6a2474e}" ma:internalName="Product_x0020_Group" ma:showField="Title" ma:web="2abaa529-e345-4c5f-9284-8404cbe7eeeb">
      <xsd:simpleType>
        <xsd:restriction base="dms:Lookup"/>
      </xsd:simpleType>
    </xsd:element>
    <xsd:element name="Scope" ma:index="6" nillable="true" ma:displayName="Scope" ma:list="f9e0fa36-3a15-4c39-b289-87f5ce0548a9" ma:internalName="Scope" ma:showField="Title" ma:web="2abaa529-e345-4c5f-9284-8404cbe7eeeb">
      <xsd:simpleType>
        <xsd:restriction base="dms:Lookup"/>
      </xsd:simpleType>
    </xsd:element>
    <xsd:element name="Related_x0020_to" ma:index="8" nillable="true" ma:displayName="Related to" ma:internalName="Related_x0020_to">
      <xsd:simpleType>
        <xsd:restriction base="dms:Text">
          <xsd:maxLength value="255"/>
        </xsd:restriction>
      </xsd:simpleType>
    </xsd:element>
    <xsd:element name="publication_x0020_date" ma:index="9" nillable="true" ma:displayName="publication date" ma:format="DateOnly" ma:internalName="publication_x0020_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5c9f597-787b-4714-9fdd-f502b87727b5" elementFormDefault="qualified">
    <xsd:import namespace="http://schemas.microsoft.com/office/2006/documentManagement/types"/>
    <xsd:import namespace="http://schemas.microsoft.com/office/infopath/2007/PartnerControls"/>
    <xsd:element name="Sub_x0020_Product_x0020_Group" ma:index="4" nillable="true" ma:displayName="Sub Product Group" ma:list="4c543e9b-9a2a-404e-bd00-ae27fd17f772" ma:internalName="Sub_x0020_Product_x0020_Group" ma:showField="Title" ma:web="2abaa529-e345-4c5f-9284-8404cbe7eeeb">
      <xsd:simpleType>
        <xsd:restriction base="dms:Lookup"/>
      </xsd:simpleType>
    </xsd:element>
    <xsd:element name="Product_x0020_mit_x0020_Key" ma:index="5" nillable="true" ma:displayName="Product mit Key" ma:list="4219375b-8951-4ee4-b511-fd24d1b0b9fb" ma:internalName="Product_x0020_mit_x0020_Key" ma:showField="Product_x0020_mit_x0020_Key" ma:web="2abaa529-e345-4c5f-9284-8404cbe7eeeb">
      <xsd:simpleType>
        <xsd:restriction base="dms:Lookup"/>
      </xsd:simpleType>
    </xsd:element>
    <xsd:element name="Website" ma:index="7" nillable="true" ma:displayName="Website" ma:list="63e24a3c-cc7a-4ac8-86da-f66c7e1f0f7d" ma:internalName="Website" ma:showField="Title" ma:web="2abaa529-e345-4c5f-9284-8404cbe7eeeb">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570D415-E918-4203-BE82-12F2F03B815E}">
  <ds:schemaRefs/>
</ds:datastoreItem>
</file>

<file path=customXml/itemProps10.xml><?xml version="1.0" encoding="utf-8"?>
<ds:datastoreItem xmlns:ds="http://schemas.openxmlformats.org/officeDocument/2006/customXml" ds:itemID="{F6C43BE7-2093-4755-8655-205025B6225F}">
  <ds:schemaRefs/>
</ds:datastoreItem>
</file>

<file path=customXml/itemProps11.xml><?xml version="1.0" encoding="utf-8"?>
<ds:datastoreItem xmlns:ds="http://schemas.openxmlformats.org/officeDocument/2006/customXml" ds:itemID="{0E1974FA-1A5D-4628-92BC-4141AD2A3161}">
  <ds:schemaRefs/>
</ds:datastoreItem>
</file>

<file path=customXml/itemProps12.xml><?xml version="1.0" encoding="utf-8"?>
<ds:datastoreItem xmlns:ds="http://schemas.openxmlformats.org/officeDocument/2006/customXml" ds:itemID="{BC7E6203-CAA9-422F-AA0C-7A30BC95878C}">
  <ds:schemaRefs/>
</ds:datastoreItem>
</file>

<file path=customXml/itemProps13.xml><?xml version="1.0" encoding="utf-8"?>
<ds:datastoreItem xmlns:ds="http://schemas.openxmlformats.org/officeDocument/2006/customXml" ds:itemID="{0ACE5D9A-4576-4E85-B882-8A6577A1ED59}">
  <ds:schemaRefs/>
</ds:datastoreItem>
</file>

<file path=customXml/itemProps14.xml><?xml version="1.0" encoding="utf-8"?>
<ds:datastoreItem xmlns:ds="http://schemas.openxmlformats.org/officeDocument/2006/customXml" ds:itemID="{55B9F28E-8C74-4B81-A3D2-1D58F9FC4332}">
  <ds:schemaRefs/>
</ds:datastoreItem>
</file>

<file path=customXml/itemProps15.xml><?xml version="1.0" encoding="utf-8"?>
<ds:datastoreItem xmlns:ds="http://schemas.openxmlformats.org/officeDocument/2006/customXml" ds:itemID="{DC69B3DD-E179-4755-AD4B-BF25F52A76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6.xml><?xml version="1.0" encoding="utf-8"?>
<ds:datastoreItem xmlns:ds="http://schemas.openxmlformats.org/officeDocument/2006/customXml" ds:itemID="{8D57D599-3948-44CE-9F06-B85B01D47992}">
  <ds:schemaRefs/>
</ds:datastoreItem>
</file>

<file path=customXml/itemProps17.xml><?xml version="1.0" encoding="utf-8"?>
<ds:datastoreItem xmlns:ds="http://schemas.openxmlformats.org/officeDocument/2006/customXml" ds:itemID="{212E0CEC-007E-47A4-9F52-35503CCA6DB9}">
  <ds:schemaRefs/>
</ds:datastoreItem>
</file>

<file path=customXml/itemProps18.xml><?xml version="1.0" encoding="utf-8"?>
<ds:datastoreItem xmlns:ds="http://schemas.openxmlformats.org/officeDocument/2006/customXml" ds:itemID="{EE520842-9280-4A7E-A8A2-F3D84613E0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9.xml><?xml version="1.0" encoding="utf-8"?>
<ds:datastoreItem xmlns:ds="http://schemas.openxmlformats.org/officeDocument/2006/customXml" ds:itemID="{C9BFCBCD-3AFF-4496-9AD6-59F69ACDBB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A7913DA-1A30-42EE-B585-FFCF82E78E7F}">
  <ds:schemaRefs/>
</ds:datastoreItem>
</file>

<file path=customXml/itemProps20.xml><?xml version="1.0" encoding="utf-8"?>
<ds:datastoreItem xmlns:ds="http://schemas.openxmlformats.org/officeDocument/2006/customXml" ds:itemID="{A7AE3C05-8F35-4340-A48B-A960D2FBE250}">
  <ds:schemaRefs/>
</ds:datastoreItem>
</file>

<file path=customXml/itemProps21.xml><?xml version="1.0" encoding="utf-8"?>
<ds:datastoreItem xmlns:ds="http://schemas.openxmlformats.org/officeDocument/2006/customXml" ds:itemID="{F37BA79A-F3EE-415C-882E-CB975A81E4C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2.xml><?xml version="1.0" encoding="utf-8"?>
<ds:datastoreItem xmlns:ds="http://schemas.openxmlformats.org/officeDocument/2006/customXml" ds:itemID="{347BE3F6-03D7-41D3-9545-A6C5F342D0DB}">
  <ds:schemaRefs/>
</ds:datastoreItem>
</file>

<file path=customXml/itemProps23.xml><?xml version="1.0" encoding="utf-8"?>
<ds:datastoreItem xmlns:ds="http://schemas.openxmlformats.org/officeDocument/2006/customXml" ds:itemID="{491741F0-F4D9-4450-9075-599099F2AFE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4.xml><?xml version="1.0" encoding="utf-8"?>
<ds:datastoreItem xmlns:ds="http://schemas.openxmlformats.org/officeDocument/2006/customXml" ds:itemID="{50A2FF8C-C8BD-4036-ACFF-A9EF6BA981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5.xml><?xml version="1.0" encoding="utf-8"?>
<ds:datastoreItem xmlns:ds="http://schemas.openxmlformats.org/officeDocument/2006/customXml" ds:itemID="{572FBA73-6DBF-45DA-8282-9342320CFAB0}">
  <ds:schemaRefs/>
</ds:datastoreItem>
</file>

<file path=customXml/itemProps26.xml><?xml version="1.0" encoding="utf-8"?>
<ds:datastoreItem xmlns:ds="http://schemas.openxmlformats.org/officeDocument/2006/customXml" ds:itemID="{02EE6121-8BAD-4793-959E-B68AECF6A481}">
  <ds:schemaRefs/>
</ds:datastoreItem>
</file>

<file path=customXml/itemProps27.xml><?xml version="1.0" encoding="utf-8"?>
<ds:datastoreItem xmlns:ds="http://schemas.openxmlformats.org/officeDocument/2006/customXml" ds:itemID="{CC0E69CE-A685-45FC-B8DA-470F14AE8F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8.xml><?xml version="1.0" encoding="utf-8"?>
<ds:datastoreItem xmlns:ds="http://schemas.openxmlformats.org/officeDocument/2006/customXml" ds:itemID="{9EC68AC2-E8DE-4715-80B6-DE02B25A1C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9.xml><?xml version="1.0" encoding="utf-8"?>
<ds:datastoreItem xmlns:ds="http://schemas.openxmlformats.org/officeDocument/2006/customXml" ds:itemID="{5CE7AD40-BE34-4AD0-AA49-025FDC22ED66}">
  <ds:schemaRefs/>
</ds:datastoreItem>
</file>

<file path=customXml/itemProps3.xml><?xml version="1.0" encoding="utf-8"?>
<ds:datastoreItem xmlns:ds="http://schemas.openxmlformats.org/officeDocument/2006/customXml" ds:itemID="{D77338A0-52E7-43E7-B526-8D88D64E94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0.xml><?xml version="1.0" encoding="utf-8"?>
<ds:datastoreItem xmlns:ds="http://schemas.openxmlformats.org/officeDocument/2006/customXml" ds:itemID="{54B15586-E7C8-4E8A-9622-DDC382A78F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1.xml><?xml version="1.0" encoding="utf-8"?>
<ds:datastoreItem xmlns:ds="http://schemas.openxmlformats.org/officeDocument/2006/customXml" ds:itemID="{7685F6C2-1341-4DB9-ADAE-9436789D18F8}">
  <ds:schemaRefs/>
</ds:datastoreItem>
</file>

<file path=customXml/itemProps32.xml><?xml version="1.0" encoding="utf-8"?>
<ds:datastoreItem xmlns:ds="http://schemas.openxmlformats.org/officeDocument/2006/customXml" ds:itemID="{551ACCAB-62CC-4893-8069-2AD7C9B6A27E}">
  <ds:schemaRefs/>
</ds:datastoreItem>
</file>

<file path=customXml/itemProps33.xml><?xml version="1.0" encoding="utf-8"?>
<ds:datastoreItem xmlns:ds="http://schemas.openxmlformats.org/officeDocument/2006/customXml" ds:itemID="{D828A751-7A10-4B6A-B3F0-0205282F5802}">
  <ds:schemaRefs/>
</ds:datastoreItem>
</file>

<file path=customXml/itemProps34.xml><?xml version="1.0" encoding="utf-8"?>
<ds:datastoreItem xmlns:ds="http://schemas.openxmlformats.org/officeDocument/2006/customXml" ds:itemID="{E64AB283-6803-44FD-81A4-9029A382BC7C}">
  <ds:schemaRefs/>
</ds:datastoreItem>
</file>

<file path=customXml/itemProps35.xml><?xml version="1.0" encoding="utf-8"?>
<ds:datastoreItem xmlns:ds="http://schemas.openxmlformats.org/officeDocument/2006/customXml" ds:itemID="{E2D1E488-71CF-4AB6-87BE-93C4A826E140}">
  <ds:schemaRefs/>
</ds:datastoreItem>
</file>

<file path=customXml/itemProps36.xml><?xml version="1.0" encoding="utf-8"?>
<ds:datastoreItem xmlns:ds="http://schemas.openxmlformats.org/officeDocument/2006/customXml" ds:itemID="{378DDF1F-1E4C-49FA-81A5-745355B60AC2}">
  <ds:schemaRefs>
    <ds:schemaRef ds:uri="http://schemas.microsoft.com/sharepoint/v3/contenttype/forms"/>
  </ds:schemaRefs>
</ds:datastoreItem>
</file>

<file path=customXml/itemProps37.xml><?xml version="1.0" encoding="utf-8"?>
<ds:datastoreItem xmlns:ds="http://schemas.openxmlformats.org/officeDocument/2006/customXml" ds:itemID="{3536D3AC-BFDC-4B63-930C-2D72C556ABDF}">
  <ds:schemaRefs/>
</ds:datastoreItem>
</file>

<file path=customXml/itemProps38.xml><?xml version="1.0" encoding="utf-8"?>
<ds:datastoreItem xmlns:ds="http://schemas.openxmlformats.org/officeDocument/2006/customXml" ds:itemID="{FBDC9123-869B-4835-A310-9A8A296F086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9.xml><?xml version="1.0" encoding="utf-8"?>
<ds:datastoreItem xmlns:ds="http://schemas.openxmlformats.org/officeDocument/2006/customXml" ds:itemID="{13564A7B-CC1B-45CA-8DD5-3E06F4EB704E}">
  <ds:schemaRefs/>
</ds:datastoreItem>
</file>

<file path=customXml/itemProps4.xml><?xml version="1.0" encoding="utf-8"?>
<ds:datastoreItem xmlns:ds="http://schemas.openxmlformats.org/officeDocument/2006/customXml" ds:itemID="{B28E3E0D-57A8-4E83-9AEE-F5CA8E2C0A9B}">
  <ds:schemaRefs/>
</ds:datastoreItem>
</file>

<file path=customXml/itemProps40.xml><?xml version="1.0" encoding="utf-8"?>
<ds:datastoreItem xmlns:ds="http://schemas.openxmlformats.org/officeDocument/2006/customXml" ds:itemID="{0A0195EA-5FA5-4CCA-B696-95182B6E146C}">
  <ds:schemaRefs/>
</ds:datastoreItem>
</file>

<file path=customXml/itemProps41.xml><?xml version="1.0" encoding="utf-8"?>
<ds:datastoreItem xmlns:ds="http://schemas.openxmlformats.org/officeDocument/2006/customXml" ds:itemID="{551EAD99-96FD-4789-9C4D-3F0B27F16EA4}">
  <ds:schemaRefs/>
</ds:datastoreItem>
</file>

<file path=customXml/itemProps42.xml><?xml version="1.0" encoding="utf-8"?>
<ds:datastoreItem xmlns:ds="http://schemas.openxmlformats.org/officeDocument/2006/customXml" ds:itemID="{D8D0540C-4128-444D-9D26-4BB7CA50BB6C}">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55c9f597-787b-4714-9fdd-f502b87727b5"/>
    <ds:schemaRef ds:uri="http://purl.org/dc/terms/"/>
    <ds:schemaRef ds:uri="http://schemas.openxmlformats.org/package/2006/metadata/core-properties"/>
    <ds:schemaRef ds:uri="8588f3e9-8c00-4886-9def-0d9ce09ea432"/>
    <ds:schemaRef ds:uri="http://www.w3.org/XML/1998/namespace"/>
    <ds:schemaRef ds:uri="http://purl.org/dc/dcmitype/"/>
  </ds:schemaRefs>
</ds:datastoreItem>
</file>

<file path=customXml/itemProps43.xml><?xml version="1.0" encoding="utf-8"?>
<ds:datastoreItem xmlns:ds="http://schemas.openxmlformats.org/officeDocument/2006/customXml" ds:itemID="{FEFA8343-2544-4DB3-9D36-06330AC49424}">
  <ds:schemaRefs/>
</ds:datastoreItem>
</file>

<file path=customXml/itemProps44.xml><?xml version="1.0" encoding="utf-8"?>
<ds:datastoreItem xmlns:ds="http://schemas.openxmlformats.org/officeDocument/2006/customXml" ds:itemID="{BC9BEE97-4834-4E4F-B291-743DE32A5A6B}">
  <ds:schemaRefs/>
</ds:datastoreItem>
</file>

<file path=customXml/itemProps45.xml><?xml version="1.0" encoding="utf-8"?>
<ds:datastoreItem xmlns:ds="http://schemas.openxmlformats.org/officeDocument/2006/customXml" ds:itemID="{BB9587CF-FA60-4D9B-82EE-C692A4FD4D0D}">
  <ds:schemaRefs/>
</ds:datastoreItem>
</file>

<file path=customXml/itemProps46.xml><?xml version="1.0" encoding="utf-8"?>
<ds:datastoreItem xmlns:ds="http://schemas.openxmlformats.org/officeDocument/2006/customXml" ds:itemID="{6DC926D8-2AE9-48FC-8105-01D8D59539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7.xml><?xml version="1.0" encoding="utf-8"?>
<ds:datastoreItem xmlns:ds="http://schemas.openxmlformats.org/officeDocument/2006/customXml" ds:itemID="{5475C781-009E-42B6-942C-99CDE8B66F8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8.xml><?xml version="1.0" encoding="utf-8"?>
<ds:datastoreItem xmlns:ds="http://schemas.openxmlformats.org/officeDocument/2006/customXml" ds:itemID="{6357E796-6A23-418A-8352-B9C2C57D76F2}">
  <ds:schemaRefs/>
</ds:datastoreItem>
</file>

<file path=customXml/itemProps49.xml><?xml version="1.0" encoding="utf-8"?>
<ds:datastoreItem xmlns:ds="http://schemas.openxmlformats.org/officeDocument/2006/customXml" ds:itemID="{7A43BF86-A970-45BE-9042-AB6918762A74}">
  <ds:schemaRefs/>
</ds:datastoreItem>
</file>

<file path=customXml/itemProps5.xml><?xml version="1.0" encoding="utf-8"?>
<ds:datastoreItem xmlns:ds="http://schemas.openxmlformats.org/officeDocument/2006/customXml" ds:itemID="{F7AA49C1-ECF8-4E59-88FF-E8173F4B6C24}">
  <ds:schemaRefs/>
</ds:datastoreItem>
</file>

<file path=customXml/itemProps50.xml><?xml version="1.0" encoding="utf-8"?>
<ds:datastoreItem xmlns:ds="http://schemas.openxmlformats.org/officeDocument/2006/customXml" ds:itemID="{A226D842-A14A-479C-B731-F7B5B610B912}">
  <ds:schemaRefs/>
</ds:datastoreItem>
</file>

<file path=customXml/itemProps51.xml><?xml version="1.0" encoding="utf-8"?>
<ds:datastoreItem xmlns:ds="http://schemas.openxmlformats.org/officeDocument/2006/customXml" ds:itemID="{04901C40-4A21-473A-A588-C3525528B651}">
  <ds:schemaRefs/>
</ds:datastoreItem>
</file>

<file path=customXml/itemProps52.xml><?xml version="1.0" encoding="utf-8"?>
<ds:datastoreItem xmlns:ds="http://schemas.openxmlformats.org/officeDocument/2006/customXml" ds:itemID="{FBEAA42F-484A-4B73-A183-F964EBB1E2FD}">
  <ds:schemaRefs/>
</ds:datastoreItem>
</file>

<file path=customXml/itemProps53.xml><?xml version="1.0" encoding="utf-8"?>
<ds:datastoreItem xmlns:ds="http://schemas.openxmlformats.org/officeDocument/2006/customXml" ds:itemID="{4301760E-6ED7-41F1-A69F-EA2E872E595F}">
  <ds:schemaRefs/>
</ds:datastoreItem>
</file>

<file path=customXml/itemProps54.xml><?xml version="1.0" encoding="utf-8"?>
<ds:datastoreItem xmlns:ds="http://schemas.openxmlformats.org/officeDocument/2006/customXml" ds:itemID="{B37378FB-5436-488F-8981-5FE5DB06E5DB}">
  <ds:schemaRefs/>
</ds:datastoreItem>
</file>

<file path=customXml/itemProps55.xml><?xml version="1.0" encoding="utf-8"?>
<ds:datastoreItem xmlns:ds="http://schemas.openxmlformats.org/officeDocument/2006/customXml" ds:itemID="{86D7E2E3-C552-4629-B3B3-39D6657DA1DE}">
  <ds:schemaRefs/>
</ds:datastoreItem>
</file>

<file path=customXml/itemProps56.xml><?xml version="1.0" encoding="utf-8"?>
<ds:datastoreItem xmlns:ds="http://schemas.openxmlformats.org/officeDocument/2006/customXml" ds:itemID="{794F7C10-BCC3-4390-A245-45AEAC1E4A71}">
  <ds:schemaRefs/>
</ds:datastoreItem>
</file>

<file path=customXml/itemProps57.xml><?xml version="1.0" encoding="utf-8"?>
<ds:datastoreItem xmlns:ds="http://schemas.openxmlformats.org/officeDocument/2006/customXml" ds:itemID="{9051464F-5B2F-45F3-8179-353E76D0A0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8.xml><?xml version="1.0" encoding="utf-8"?>
<ds:datastoreItem xmlns:ds="http://schemas.openxmlformats.org/officeDocument/2006/customXml" ds:itemID="{5ED38880-F2DC-4983-8FC9-40700DC295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9.xml><?xml version="1.0" encoding="utf-8"?>
<ds:datastoreItem xmlns:ds="http://schemas.openxmlformats.org/officeDocument/2006/customXml" ds:itemID="{C61734BC-D76D-48F4-AEFA-0FC470F9DE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0A68945E-A0F9-4AB6-97CB-A70F382399F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0.xml><?xml version="1.0" encoding="utf-8"?>
<ds:datastoreItem xmlns:ds="http://schemas.openxmlformats.org/officeDocument/2006/customXml" ds:itemID="{3A300C30-8BE9-4ED1-876B-24082EC98D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1.xml><?xml version="1.0" encoding="utf-8"?>
<ds:datastoreItem xmlns:ds="http://schemas.openxmlformats.org/officeDocument/2006/customXml" ds:itemID="{C58B71EC-459D-4F1A-B463-59ADF0A96FFD}">
  <ds:schemaRefs/>
</ds:datastoreItem>
</file>

<file path=customXml/itemProps62.xml><?xml version="1.0" encoding="utf-8"?>
<ds:datastoreItem xmlns:ds="http://schemas.openxmlformats.org/officeDocument/2006/customXml" ds:itemID="{7B694FD7-AB58-4303-9B57-CA4014F424A5}">
  <ds:schemaRefs/>
</ds:datastoreItem>
</file>

<file path=customXml/itemProps63.xml><?xml version="1.0" encoding="utf-8"?>
<ds:datastoreItem xmlns:ds="http://schemas.openxmlformats.org/officeDocument/2006/customXml" ds:itemID="{CA6C92CC-D0A5-45B3-9164-92D95517E9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4.xml><?xml version="1.0" encoding="utf-8"?>
<ds:datastoreItem xmlns:ds="http://schemas.openxmlformats.org/officeDocument/2006/customXml" ds:itemID="{A9B87BAF-B317-420E-BF86-219369EEBD54}">
  <ds:schemaRefs/>
</ds:datastoreItem>
</file>

<file path=customXml/itemProps65.xml><?xml version="1.0" encoding="utf-8"?>
<ds:datastoreItem xmlns:ds="http://schemas.openxmlformats.org/officeDocument/2006/customXml" ds:itemID="{BE4EDFF2-1670-4CE1-9137-5A2085D967B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6.xml><?xml version="1.0" encoding="utf-8"?>
<ds:datastoreItem xmlns:ds="http://schemas.openxmlformats.org/officeDocument/2006/customXml" ds:itemID="{6D27C0A4-AEBC-43B8-9E51-FCC0A1723E09}">
  <ds:schemaRefs/>
</ds:datastoreItem>
</file>

<file path=customXml/itemProps67.xml><?xml version="1.0" encoding="utf-8"?>
<ds:datastoreItem xmlns:ds="http://schemas.openxmlformats.org/officeDocument/2006/customXml" ds:itemID="{43A6D6CF-0F34-41CA-A0C0-406986F21F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8.xml><?xml version="1.0" encoding="utf-8"?>
<ds:datastoreItem xmlns:ds="http://schemas.openxmlformats.org/officeDocument/2006/customXml" ds:itemID="{E8A9726F-38E5-43C1-8095-EA8F3C2A2310}">
  <ds:schemaRefs/>
</ds:datastoreItem>
</file>

<file path=customXml/itemProps69.xml><?xml version="1.0" encoding="utf-8"?>
<ds:datastoreItem xmlns:ds="http://schemas.openxmlformats.org/officeDocument/2006/customXml" ds:itemID="{950E9BCB-A16A-4A9E-9D88-F6EDCD3971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xml><?xml version="1.0" encoding="utf-8"?>
<ds:datastoreItem xmlns:ds="http://schemas.openxmlformats.org/officeDocument/2006/customXml" ds:itemID="{C6FC5AAE-BF23-4533-8A1B-166FF45FDBB6}">
  <ds:schemaRefs/>
</ds:datastoreItem>
</file>

<file path=customXml/itemProps70.xml><?xml version="1.0" encoding="utf-8"?>
<ds:datastoreItem xmlns:ds="http://schemas.openxmlformats.org/officeDocument/2006/customXml" ds:itemID="{525E9450-9CE3-4260-B98C-84F7DD076631}">
  <ds:schemaRefs/>
</ds:datastoreItem>
</file>

<file path=customXml/itemProps71.xml><?xml version="1.0" encoding="utf-8"?>
<ds:datastoreItem xmlns:ds="http://schemas.openxmlformats.org/officeDocument/2006/customXml" ds:itemID="{59036B9E-0D18-4601-AC77-A18EC98FED2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2.xml><?xml version="1.0" encoding="utf-8"?>
<ds:datastoreItem xmlns:ds="http://schemas.openxmlformats.org/officeDocument/2006/customXml" ds:itemID="{9C086103-813D-4046-A11C-C8C4492FB879}">
  <ds:schemaRefs/>
</ds:datastoreItem>
</file>

<file path=customXml/itemProps73.xml><?xml version="1.0" encoding="utf-8"?>
<ds:datastoreItem xmlns:ds="http://schemas.openxmlformats.org/officeDocument/2006/customXml" ds:itemID="{B1F7CF31-719D-4D99-BB54-F01CC4DC74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4.xml><?xml version="1.0" encoding="utf-8"?>
<ds:datastoreItem xmlns:ds="http://schemas.openxmlformats.org/officeDocument/2006/customXml" ds:itemID="{E7B4E006-FF95-4692-BF4F-1D15DBCC38DB}">
  <ds:schemaRefs/>
</ds:datastoreItem>
</file>

<file path=customXml/itemProps75.xml><?xml version="1.0" encoding="utf-8"?>
<ds:datastoreItem xmlns:ds="http://schemas.openxmlformats.org/officeDocument/2006/customXml" ds:itemID="{0B88156C-D04E-48E9-A41B-705918F358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76.xml><?xml version="1.0" encoding="utf-8"?>
<ds:datastoreItem xmlns:ds="http://schemas.openxmlformats.org/officeDocument/2006/customXml" ds:itemID="{0F7D0FB5-973C-4A31-8263-B74286CA96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8.xml><?xml version="1.0" encoding="utf-8"?>
<ds:datastoreItem xmlns:ds="http://schemas.openxmlformats.org/officeDocument/2006/customXml" ds:itemID="{6B7CF5A8-0EA8-49C0-8A13-674C81531BCE}">
  <ds:schemaRefs/>
</ds:datastoreItem>
</file>

<file path=customXml/itemProps9.xml><?xml version="1.0" encoding="utf-8"?>
<ds:datastoreItem xmlns:ds="http://schemas.openxmlformats.org/officeDocument/2006/customXml" ds:itemID="{D9DF55FE-48F4-4CA0-961C-98BF5DFFEDE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8f3e9-8c00-4886-9def-0d9ce09ea432"/>
    <ds:schemaRef ds:uri="55c9f597-787b-4714-9fdd-f502b87727b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969</Words>
  <Application>Microsoft Office PowerPoint</Application>
  <PresentationFormat>Benutzerdefiniert</PresentationFormat>
  <Paragraphs>302</Paragraphs>
  <Slides>13</Slides>
  <Notes>13</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2</vt:i4>
      </vt:variant>
      <vt:variant>
        <vt:lpstr>Folientitel</vt:lpstr>
      </vt:variant>
      <vt:variant>
        <vt:i4>13</vt:i4>
      </vt:variant>
    </vt:vector>
  </HeadingPairs>
  <TitlesOfParts>
    <vt:vector size="24" baseType="lpstr">
      <vt:lpstr>Arial</vt:lpstr>
      <vt:lpstr>Arial Regular</vt:lpstr>
      <vt:lpstr>Calibri</vt:lpstr>
      <vt:lpstr>Segoe UI Symbol</vt:lpstr>
      <vt:lpstr>Siemens Sans</vt:lpstr>
      <vt:lpstr>Symbol</vt:lpstr>
      <vt:lpstr>Times New Roman</vt:lpstr>
      <vt:lpstr>Wingdings</vt:lpstr>
      <vt:lpstr>2_Siemens 2013 – 16:9</vt:lpstr>
      <vt:lpstr>think-cell Folie</vt:lpstr>
      <vt:lpstr>think-cell Slide</vt:lpstr>
      <vt:lpstr>Digital Twin Digital Solutions for the Water Industry</vt:lpstr>
      <vt:lpstr>Today’s Drinking Water business is facing many challenges</vt:lpstr>
      <vt:lpstr>PowerPoint-Präsentation</vt:lpstr>
      <vt:lpstr>What is meant by a "digital twin“ ?</vt:lpstr>
      <vt:lpstr>PowerPoint-Präsentation</vt:lpstr>
      <vt:lpstr>PowerPoint-Präsentation</vt:lpstr>
      <vt:lpstr>Challenges of our customers</vt:lpstr>
      <vt:lpstr>A digital representation that provides  an immersive view of reality </vt:lpstr>
      <vt:lpstr>PlantSight  Brings Together Virtual with Real Time Data </vt:lpstr>
      <vt:lpstr>PlantSight The scalable concept for the Digital Twin</vt:lpstr>
      <vt:lpstr>PlantSight   In a Nutshell </vt:lpstr>
      <vt:lpstr>PowerPoint-Präsentation</vt:lpstr>
      <vt:lpstr>A Roadmap to success – Our Digital Transformation Journey  drives scalability and customer value</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isierung in der Prozessindustrie</dc:title>
  <dc:creator/>
  <cp:keywords>C_Unrestricted</cp:keywords>
  <cp:lastModifiedBy/>
  <cp:revision>1</cp:revision>
  <dcterms:created xsi:type="dcterms:W3CDTF">2015-03-26T14:03:55Z</dcterms:created>
  <dcterms:modified xsi:type="dcterms:W3CDTF">2022-03-28T20:59:49Z</dcterms:modified>
  <dc:language>English</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D3C8BB2D3D2549B7D50B2EA67581A2</vt:lpwstr>
  </property>
  <property fmtid="{D5CDD505-2E9C-101B-9397-08002B2CF9AE}" pid="3" name="_AdHocReviewCycleID">
    <vt:i4>39333428</vt:i4>
  </property>
  <property fmtid="{D5CDD505-2E9C-101B-9397-08002B2CF9AE}" pid="4" name="_NewReviewCycle">
    <vt:lpwstr/>
  </property>
  <property fmtid="{D5CDD505-2E9C-101B-9397-08002B2CF9AE}" pid="5" name="_PreviousAdHocReviewCycleID">
    <vt:i4>-390803610</vt:i4>
  </property>
  <property fmtid="{D5CDD505-2E9C-101B-9397-08002B2CF9AE}" pid="6" name="SiemensSecurityClass">
    <vt:lpwstr>Unrestricted</vt:lpwstr>
  </property>
  <property fmtid="{D5CDD505-2E9C-101B-9397-08002B2CF9AE}" pid="7" name="Language">
    <vt:lpwstr>English (en)</vt:lpwstr>
  </property>
  <property fmtid="{D5CDD505-2E9C-101B-9397-08002B2CF9AE}" pid="8" name="SlidesCount">
    <vt:i4>95</vt:i4>
  </property>
  <property fmtid="{D5CDD505-2E9C-101B-9397-08002B2CF9AE}" pid="9" name="PresentationFormat">
    <vt:lpwstr>16:9</vt:lpwstr>
  </property>
  <property fmtid="{D5CDD505-2E9C-101B-9397-08002B2CF9AE}" pid="10" name="DocumentInfoType">
    <vt:lpwstr/>
  </property>
  <property fmtid="{D5CDD505-2E9C-101B-9397-08002B2CF9AE}" pid="11" name="ChangeComment">
    <vt:lpwstr/>
  </property>
  <property fmtid="{D5CDD505-2E9C-101B-9397-08002B2CF9AE}" pid="12" name="Document Confidentiality">
    <vt:lpwstr>Unrestricted</vt:lpwstr>
  </property>
  <property fmtid="{D5CDD505-2E9C-101B-9397-08002B2CF9AE}" pid="13" name="MPMID">
    <vt:lpwstr>4e64d38f-da80-47e5-a573-94991482da4f</vt:lpwstr>
  </property>
  <property fmtid="{D5CDD505-2E9C-101B-9397-08002B2CF9AE}" pid="14" name="MSIP_Label_a59b6cd5-d141-4a33-8bf1-0ca04484304f_Enabled">
    <vt:lpwstr>true</vt:lpwstr>
  </property>
  <property fmtid="{D5CDD505-2E9C-101B-9397-08002B2CF9AE}" pid="15" name="MSIP_Label_a59b6cd5-d141-4a33-8bf1-0ca04484304f_SetDate">
    <vt:lpwstr>2022-03-28T20:59:49Z</vt:lpwstr>
  </property>
  <property fmtid="{D5CDD505-2E9C-101B-9397-08002B2CF9AE}" pid="16" name="MSIP_Label_a59b6cd5-d141-4a33-8bf1-0ca04484304f_Method">
    <vt:lpwstr>Standard</vt:lpwstr>
  </property>
  <property fmtid="{D5CDD505-2E9C-101B-9397-08002B2CF9AE}" pid="17" name="MSIP_Label_a59b6cd5-d141-4a33-8bf1-0ca04484304f_Name">
    <vt:lpwstr>restricted-default</vt:lpwstr>
  </property>
  <property fmtid="{D5CDD505-2E9C-101B-9397-08002B2CF9AE}" pid="18" name="MSIP_Label_a59b6cd5-d141-4a33-8bf1-0ca04484304f_SiteId">
    <vt:lpwstr>38ae3bcd-9579-4fd4-adda-b42e1495d55a</vt:lpwstr>
  </property>
  <property fmtid="{D5CDD505-2E9C-101B-9397-08002B2CF9AE}" pid="19" name="MSIP_Label_a59b6cd5-d141-4a33-8bf1-0ca04484304f_ActionId">
    <vt:lpwstr>a0d04e8f-b33a-4961-bd28-d6d953491a1c</vt:lpwstr>
  </property>
  <property fmtid="{D5CDD505-2E9C-101B-9397-08002B2CF9AE}" pid="20" name="MSIP_Label_a59b6cd5-d141-4a33-8bf1-0ca04484304f_ContentBits">
    <vt:lpwstr>0</vt:lpwstr>
  </property>
  <property fmtid="{D5CDD505-2E9C-101B-9397-08002B2CF9AE}" pid="21" name="Document_Confidentiality">
    <vt:lpwstr>Restricted</vt:lpwstr>
  </property>
</Properties>
</file>